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4"/>
  </p:sldMasterIdLst>
  <p:notesMasterIdLst>
    <p:notesMasterId r:id="rId23"/>
  </p:notesMasterIdLst>
  <p:handoutMasterIdLst>
    <p:handoutMasterId r:id="rId24"/>
  </p:handoutMasterIdLst>
  <p:sldIdLst>
    <p:sldId id="550144569" r:id="rId5"/>
    <p:sldId id="550144634" r:id="rId6"/>
    <p:sldId id="550144635" r:id="rId7"/>
    <p:sldId id="550144647" r:id="rId8"/>
    <p:sldId id="550144601" r:id="rId9"/>
    <p:sldId id="550144636" r:id="rId10"/>
    <p:sldId id="550144633" r:id="rId11"/>
    <p:sldId id="550144612" r:id="rId12"/>
    <p:sldId id="550144638" r:id="rId13"/>
    <p:sldId id="550144639" r:id="rId14"/>
    <p:sldId id="550144640" r:id="rId15"/>
    <p:sldId id="550144641" r:id="rId16"/>
    <p:sldId id="550144642" r:id="rId17"/>
    <p:sldId id="550144591" r:id="rId18"/>
    <p:sldId id="550144644" r:id="rId19"/>
    <p:sldId id="550144645" r:id="rId20"/>
    <p:sldId id="550144648" r:id="rId21"/>
    <p:sldId id="550144632" r:id="rId22"/>
  </p:sldIdLst>
  <p:sldSz cx="12192000" cy="6858000"/>
  <p:notesSz cx="6858000" cy="9144000"/>
  <p:custDataLst>
    <p:tags r:id="rId25"/>
  </p:custDataLst>
  <p:defaultTextStyle>
    <a:defPPr>
      <a:defRPr lang="id-ID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E727308-719B-F86B-3497-A64B08447E9C}" name="Dinara Doyle" initials="DD" userId="S::doyle@progress.com::7ccbcfe0-872f-4070-9bde-2eb7244c22ea" providerId="AD"/>
  <p188:author id="{9AD98B50-D50C-442C-D3A6-0EDE4D7E92E1}" name="Veli Stanchev" initials="VS" userId="S::vstanchev@progress.com::e2276c18-7d69-4628-9aea-72f389ac5bcc" providerId="AD"/>
  <p188:author id="{566BB559-1CBF-49DE-8D59-3B3FE43E7FBB}" name="Mark Delaney" initials="MD" userId="S::madelane@progress.com::76a67e18-a708-4f21-856b-f29f2391fe6d" providerId="AD"/>
  <p188:author id="{515FCF74-AB01-631D-F9A9-48E5F6624FA4}" name="Kate Pendarvis" initials="KP" userId="S::kpendarv@progress.com::f124ca68-ea0b-4b22-90d7-1858728ec8e1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ikki Scaplen" initials="NS" lastIdx="19" clrIdx="0">
    <p:extLst>
      <p:ext uri="{19B8F6BF-5375-455C-9EA6-DF929625EA0E}">
        <p15:presenceInfo xmlns:p15="http://schemas.microsoft.com/office/powerpoint/2012/main" userId="S::nscaplen@progress.com::e49d323e-6f55-401c-9b10-1207db30779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573ED"/>
    <a:srgbClr val="2A22B5"/>
    <a:srgbClr val="3143A1"/>
    <a:srgbClr val="00A763"/>
    <a:srgbClr val="00B563"/>
    <a:srgbClr val="008963"/>
    <a:srgbClr val="5CE501"/>
    <a:srgbClr val="00D364"/>
    <a:srgbClr val="00A863"/>
    <a:srgbClr val="EEF6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5098580-B442-0E4A-924F-8F6976606DE0}" v="2" dt="2024-10-29T14:56:25.351"/>
  </p1510:revLst>
</p1510:revInfo>
</file>

<file path=ppt/tableStyles.xml><?xml version="1.0" encoding="utf-8"?>
<a:tblStyleLst xmlns:a="http://schemas.openxmlformats.org/drawingml/2006/main" def="{1E171933-4619-4E11-9A3F-F7608DF75F80}"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795"/>
    <p:restoredTop sz="94701"/>
  </p:normalViewPr>
  <p:slideViewPr>
    <p:cSldViewPr snapToGrid="0">
      <p:cViewPr varScale="1">
        <p:scale>
          <a:sx n="102" d="100"/>
          <a:sy n="102" d="100"/>
        </p:scale>
        <p:origin x="114" y="18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handoutMaster" Target="handoutMasters/handoutMaster1.xml"/><Relationship Id="rId32" Type="http://schemas.microsoft.com/office/2018/10/relationships/authors" Target="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notesMaster" Target="notesMasters/notesMaster1.xml"/><Relationship Id="rId28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d-ID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3FA2CC-1B66-4639-B8DA-DB494024A982}" type="datetimeFigureOut">
              <a:rPr lang="id-ID" smtClean="0">
                <a:latin typeface="Arial" panose="020B0604020202020204" pitchFamily="34" charset="0"/>
              </a:rPr>
              <a:t>30/10/2024</a:t>
            </a:fld>
            <a:endParaRPr lang="id-ID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d-ID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279753B-F854-4C78-AD17-D3232BD27861}" type="slidenum">
              <a:rPr lang="id-ID" smtClean="0">
                <a:latin typeface="Arial" panose="020B0604020202020204" pitchFamily="34" charset="0"/>
              </a:rPr>
              <a:t>‹#›</a:t>
            </a:fld>
            <a:endParaRPr lang="id-ID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599300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Arial" panose="020B0604020202020204" pitchFamily="34" charset="0"/>
              </a:defRPr>
            </a:lvl1pPr>
          </a:lstStyle>
          <a:p>
            <a:endParaRPr lang="id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Arial" panose="020B0604020202020204" pitchFamily="34" charset="0"/>
              </a:defRPr>
            </a:lvl1pPr>
          </a:lstStyle>
          <a:p>
            <a:fld id="{E38D6616-5898-4FCB-A57E-5ECAF0ABEA38}" type="datetimeFigureOut">
              <a:rPr lang="id-ID" smtClean="0"/>
              <a:pPr/>
              <a:t>30/10/2024</a:t>
            </a:fld>
            <a:endParaRPr lang="id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d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Arial" panose="020B0604020202020204" pitchFamily="34" charset="0"/>
              </a:defRPr>
            </a:lvl1pPr>
          </a:lstStyle>
          <a:p>
            <a:endParaRPr lang="id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Arial" panose="020B0604020202020204" pitchFamily="34" charset="0"/>
              </a:defRPr>
            </a:lvl1pPr>
          </a:lstStyle>
          <a:p>
            <a:fld id="{293019A1-94FF-4EE3-817F-0E236D94A3C5}" type="slidenum">
              <a:rPr lang="id-ID" smtClean="0"/>
              <a:pPr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5376619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i="1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3503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Progres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3503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BC3B10F-A77C-499D-8A55-4E7169A1E706}" type="slidenum">
              <a:rPr kumimoji="0" 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3503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423412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i="1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3503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Progres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3503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BC3B10F-A77C-499D-8A55-4E7169A1E706}" type="slidenum">
              <a:rPr kumimoji="0" 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3503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081036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i="1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3503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Progres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3503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BC3B10F-A77C-499D-8A55-4E7169A1E706}" type="slidenum">
              <a:rPr kumimoji="0" 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3503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918803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i="1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3503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Progres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3503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BC3B10F-A77C-499D-8A55-4E7169A1E706}" type="slidenum">
              <a:rPr kumimoji="0" 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3503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3484224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i="1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3503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Progres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3503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BC3B10F-A77C-499D-8A55-4E7169A1E706}" type="slidenum">
              <a:rPr kumimoji="0" 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3503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2359573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i="1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3503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Progres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3503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BC3B10F-A77C-499D-8A55-4E7169A1E706}" type="slidenum">
              <a:rPr kumimoji="0" 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3503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4700035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i="1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3503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Progres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3503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BC3B10F-A77C-499D-8A55-4E7169A1E706}" type="slidenum">
              <a:rPr kumimoji="0" 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3503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3738859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i="1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3503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Progres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3503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BC3B10F-A77C-499D-8A55-4E7169A1E706}" type="slidenum">
              <a:rPr kumimoji="0" 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3503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560753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image" Target="../media/image23.w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8.svg"/><Relationship Id="rId4" Type="http://schemas.openxmlformats.org/officeDocument/2006/relationships/image" Target="../media/image17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image" Target="../media/image24.w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26.w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8.svg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w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18.svg"/><Relationship Id="rId5" Type="http://schemas.openxmlformats.org/officeDocument/2006/relationships/image" Target="../media/image17.pn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8.svg"/><Relationship Id="rId5" Type="http://schemas.openxmlformats.org/officeDocument/2006/relationships/image" Target="../media/image17.png"/><Relationship Id="rId4" Type="http://schemas.openxmlformats.org/officeDocument/2006/relationships/image" Target="../media/image2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30.w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1.emf"/><Relationship Id="rId4" Type="http://schemas.openxmlformats.org/officeDocument/2006/relationships/image" Target="../media/image18.sv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oleObject" Target="../embeddings/oleObject3.bin"/><Relationship Id="rId7" Type="http://schemas.openxmlformats.org/officeDocument/2006/relationships/image" Target="../media/image5.png"/><Relationship Id="rId12" Type="http://schemas.openxmlformats.org/officeDocument/2006/relationships/image" Target="../media/image10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3.svg"/><Relationship Id="rId11" Type="http://schemas.openxmlformats.org/officeDocument/2006/relationships/image" Target="../media/image9.png"/><Relationship Id="rId5" Type="http://schemas.openxmlformats.org/officeDocument/2006/relationships/image" Target="../media/image2.png"/><Relationship Id="rId10" Type="http://schemas.openxmlformats.org/officeDocument/2006/relationships/image" Target="../media/image8.svg"/><Relationship Id="rId4" Type="http://schemas.openxmlformats.org/officeDocument/2006/relationships/image" Target="../media/image1.emf"/><Relationship Id="rId9" Type="http://schemas.openxmlformats.org/officeDocument/2006/relationships/image" Target="../media/image7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rogress.com/" TargetMode="External"/><Relationship Id="rId2" Type="http://schemas.openxmlformats.org/officeDocument/2006/relationships/image" Target="../media/image31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image" Target="../media/image31.emf"/><Relationship Id="rId7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6" Type="http://schemas.openxmlformats.org/officeDocument/2006/relationships/hyperlink" Target="https://www.progress.com/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image" Target="../media/image32.png"/><Relationship Id="rId7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6" Type="http://schemas.openxmlformats.org/officeDocument/2006/relationships/hyperlink" Target="https://www.progress.com/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image" Target="../media/image31.emf"/><Relationship Id="rId7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6" Type="http://schemas.openxmlformats.org/officeDocument/2006/relationships/hyperlink" Target="https://www.progress.com/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Relationship Id="rId9" Type="http://schemas.openxmlformats.org/officeDocument/2006/relationships/image" Target="../media/image33.w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5" Type="http://schemas.openxmlformats.org/officeDocument/2006/relationships/image" Target="../media/image34.wmf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5" Type="http://schemas.openxmlformats.org/officeDocument/2006/relationships/image" Target="../media/image35.wmf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wmf"/><Relationship Id="rId7" Type="http://schemas.openxmlformats.org/officeDocument/2006/relationships/image" Target="../media/image18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11.w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wmf"/><Relationship Id="rId7" Type="http://schemas.openxmlformats.org/officeDocument/2006/relationships/image" Target="../media/image18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svg"/><Relationship Id="rId3" Type="http://schemas.openxmlformats.org/officeDocument/2006/relationships/image" Target="../media/image38.png"/><Relationship Id="rId7" Type="http://schemas.openxmlformats.org/officeDocument/2006/relationships/image" Target="../media/image40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image" Target="../media/image39.sv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wmf"/><Relationship Id="rId7" Type="http://schemas.openxmlformats.org/officeDocument/2006/relationships/image" Target="../media/image18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emf"/><Relationship Id="rId3" Type="http://schemas.openxmlformats.org/officeDocument/2006/relationships/image" Target="../media/image43.wmf"/><Relationship Id="rId7" Type="http://schemas.openxmlformats.org/officeDocument/2006/relationships/image" Target="../media/image18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image" Target="../media/image44.wmf"/><Relationship Id="rId7" Type="http://schemas.openxmlformats.org/officeDocument/2006/relationships/hyperlink" Target="https://www.progress.com/" TargetMode="External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image" Target="../media/image25.emf"/><Relationship Id="rId9" Type="http://schemas.openxmlformats.org/officeDocument/2006/relationships/image" Target="../media/image3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12.w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4" Type="http://schemas.openxmlformats.org/officeDocument/2006/relationships/image" Target="../media/image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45.w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8.svg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wmf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wmf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wmf"/><Relationship Id="rId3" Type="http://schemas.openxmlformats.org/officeDocument/2006/relationships/oleObject" Target="../embeddings/oleObject32.bin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6" Type="http://schemas.openxmlformats.org/officeDocument/2006/relationships/image" Target="../media/image2.png"/><Relationship Id="rId5" Type="http://schemas.openxmlformats.org/officeDocument/2006/relationships/hyperlink" Target="https://www.progress.com/" TargetMode="External"/><Relationship Id="rId10" Type="http://schemas.openxmlformats.org/officeDocument/2006/relationships/image" Target="../media/image18.svg"/><Relationship Id="rId4" Type="http://schemas.openxmlformats.org/officeDocument/2006/relationships/image" Target="../media/image1.emf"/><Relationship Id="rId9" Type="http://schemas.openxmlformats.org/officeDocument/2006/relationships/image" Target="../media/image17.png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4" Type="http://schemas.openxmlformats.org/officeDocument/2006/relationships/image" Target="../media/image1.emf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image" Target="../media/image49.emf"/><Relationship Id="rId7" Type="http://schemas.openxmlformats.org/officeDocument/2006/relationships/oleObject" Target="../embeddings/oleObject3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Relationship Id="rId6" Type="http://schemas.openxmlformats.org/officeDocument/2006/relationships/image" Target="../media/image52.emf"/><Relationship Id="rId5" Type="http://schemas.openxmlformats.org/officeDocument/2006/relationships/image" Target="../media/image51.svg"/><Relationship Id="rId10" Type="http://schemas.openxmlformats.org/officeDocument/2006/relationships/image" Target="../media/image54.svg"/><Relationship Id="rId4" Type="http://schemas.openxmlformats.org/officeDocument/2006/relationships/image" Target="../media/image50.png"/><Relationship Id="rId9" Type="http://schemas.openxmlformats.org/officeDocument/2006/relationships/image" Target="../media/image53.png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png"/><Relationship Id="rId3" Type="http://schemas.openxmlformats.org/officeDocument/2006/relationships/image" Target="../media/image49.emf"/><Relationship Id="rId7" Type="http://schemas.openxmlformats.org/officeDocument/2006/relationships/image" Target="../media/image1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6" Type="http://schemas.openxmlformats.org/officeDocument/2006/relationships/oleObject" Target="../embeddings/oleObject35.bin"/><Relationship Id="rId11" Type="http://schemas.openxmlformats.org/officeDocument/2006/relationships/image" Target="../media/image60.svg"/><Relationship Id="rId5" Type="http://schemas.openxmlformats.org/officeDocument/2006/relationships/image" Target="../media/image56.svg"/><Relationship Id="rId10" Type="http://schemas.openxmlformats.org/officeDocument/2006/relationships/image" Target="../media/image59.png"/><Relationship Id="rId4" Type="http://schemas.openxmlformats.org/officeDocument/2006/relationships/image" Target="../media/image55.png"/><Relationship Id="rId9" Type="http://schemas.openxmlformats.org/officeDocument/2006/relationships/image" Target="../media/image58.sv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image" Target="../media/image13.png"/><Relationship Id="rId7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14.svg"/><Relationship Id="rId9" Type="http://schemas.openxmlformats.org/officeDocument/2006/relationships/image" Target="../media/image15.wmf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image" Target="../media/image49.emf"/><Relationship Id="rId7" Type="http://schemas.openxmlformats.org/officeDocument/2006/relationships/oleObject" Target="../embeddings/oleObject3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6" Type="http://schemas.openxmlformats.org/officeDocument/2006/relationships/image" Target="../media/image63.svg"/><Relationship Id="rId11" Type="http://schemas.openxmlformats.org/officeDocument/2006/relationships/image" Target="../media/image66.emf"/><Relationship Id="rId5" Type="http://schemas.openxmlformats.org/officeDocument/2006/relationships/image" Target="../media/image62.png"/><Relationship Id="rId10" Type="http://schemas.openxmlformats.org/officeDocument/2006/relationships/image" Target="../media/image65.svg"/><Relationship Id="rId4" Type="http://schemas.openxmlformats.org/officeDocument/2006/relationships/image" Target="../media/image61.emf"/><Relationship Id="rId9" Type="http://schemas.openxmlformats.org/officeDocument/2006/relationships/image" Target="../media/image64.png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0.png"/><Relationship Id="rId3" Type="http://schemas.openxmlformats.org/officeDocument/2006/relationships/image" Target="../media/image67.emf"/><Relationship Id="rId7" Type="http://schemas.openxmlformats.org/officeDocument/2006/relationships/image" Target="../media/image1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6" Type="http://schemas.openxmlformats.org/officeDocument/2006/relationships/oleObject" Target="../embeddings/oleObject37.bin"/><Relationship Id="rId5" Type="http://schemas.openxmlformats.org/officeDocument/2006/relationships/image" Target="../media/image69.svg"/><Relationship Id="rId10" Type="http://schemas.openxmlformats.org/officeDocument/2006/relationships/image" Target="../media/image72.emf"/><Relationship Id="rId4" Type="http://schemas.openxmlformats.org/officeDocument/2006/relationships/image" Target="../media/image68.png"/><Relationship Id="rId9" Type="http://schemas.openxmlformats.org/officeDocument/2006/relationships/image" Target="../media/image71.svg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emf"/><Relationship Id="rId3" Type="http://schemas.openxmlformats.org/officeDocument/2006/relationships/image" Target="../media/image49.emf"/><Relationship Id="rId7" Type="http://schemas.openxmlformats.org/officeDocument/2006/relationships/image" Target="../media/image1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Relationship Id="rId6" Type="http://schemas.openxmlformats.org/officeDocument/2006/relationships/oleObject" Target="../embeddings/oleObject38.bin"/><Relationship Id="rId5" Type="http://schemas.openxmlformats.org/officeDocument/2006/relationships/image" Target="../media/image74.svg"/><Relationship Id="rId10" Type="http://schemas.openxmlformats.org/officeDocument/2006/relationships/image" Target="../media/image77.emf"/><Relationship Id="rId4" Type="http://schemas.openxmlformats.org/officeDocument/2006/relationships/image" Target="../media/image73.png"/><Relationship Id="rId9" Type="http://schemas.openxmlformats.org/officeDocument/2006/relationships/image" Target="../media/image76.emf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0.png"/><Relationship Id="rId3" Type="http://schemas.openxmlformats.org/officeDocument/2006/relationships/image" Target="../media/image67.emf"/><Relationship Id="rId7" Type="http://schemas.openxmlformats.org/officeDocument/2006/relationships/image" Target="../media/image1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Relationship Id="rId6" Type="http://schemas.openxmlformats.org/officeDocument/2006/relationships/oleObject" Target="../embeddings/oleObject39.bin"/><Relationship Id="rId5" Type="http://schemas.openxmlformats.org/officeDocument/2006/relationships/image" Target="../media/image79.svg"/><Relationship Id="rId10" Type="http://schemas.openxmlformats.org/officeDocument/2006/relationships/image" Target="../media/image82.emf"/><Relationship Id="rId4" Type="http://schemas.openxmlformats.org/officeDocument/2006/relationships/image" Target="../media/image78.png"/><Relationship Id="rId9" Type="http://schemas.openxmlformats.org/officeDocument/2006/relationships/image" Target="../media/image81.svg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5.png"/><Relationship Id="rId3" Type="http://schemas.openxmlformats.org/officeDocument/2006/relationships/image" Target="../media/image67.emf"/><Relationship Id="rId7" Type="http://schemas.openxmlformats.org/officeDocument/2006/relationships/image" Target="../media/image1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Relationship Id="rId6" Type="http://schemas.openxmlformats.org/officeDocument/2006/relationships/oleObject" Target="../embeddings/oleObject40.bin"/><Relationship Id="rId5" Type="http://schemas.openxmlformats.org/officeDocument/2006/relationships/image" Target="../media/image84.svg"/><Relationship Id="rId10" Type="http://schemas.openxmlformats.org/officeDocument/2006/relationships/image" Target="../media/image87.emf"/><Relationship Id="rId4" Type="http://schemas.openxmlformats.org/officeDocument/2006/relationships/image" Target="../media/image83.png"/><Relationship Id="rId9" Type="http://schemas.openxmlformats.org/officeDocument/2006/relationships/image" Target="../media/image86.svg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1.svg"/><Relationship Id="rId3" Type="http://schemas.openxmlformats.org/officeDocument/2006/relationships/image" Target="../media/image88.png"/><Relationship Id="rId7" Type="http://schemas.openxmlformats.org/officeDocument/2006/relationships/image" Target="../media/image90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1.bin"/><Relationship Id="rId4" Type="http://schemas.openxmlformats.org/officeDocument/2006/relationships/image" Target="../media/image89.svg"/><Relationship Id="rId9" Type="http://schemas.openxmlformats.org/officeDocument/2006/relationships/image" Target="../media/image92.emf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4.svg"/><Relationship Id="rId3" Type="http://schemas.openxmlformats.org/officeDocument/2006/relationships/image" Target="../media/image88.png"/><Relationship Id="rId7" Type="http://schemas.openxmlformats.org/officeDocument/2006/relationships/image" Target="../media/image9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2.bin"/><Relationship Id="rId10" Type="http://schemas.openxmlformats.org/officeDocument/2006/relationships/image" Target="../media/image96.svg"/><Relationship Id="rId4" Type="http://schemas.openxmlformats.org/officeDocument/2006/relationships/image" Target="../media/image89.svg"/><Relationship Id="rId9" Type="http://schemas.openxmlformats.org/officeDocument/2006/relationships/image" Target="../media/image95.png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9.png"/><Relationship Id="rId3" Type="http://schemas.openxmlformats.org/officeDocument/2006/relationships/image" Target="../media/image49.emf"/><Relationship Id="rId7" Type="http://schemas.openxmlformats.org/officeDocument/2006/relationships/image" Target="../media/image1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4.xml"/><Relationship Id="rId6" Type="http://schemas.openxmlformats.org/officeDocument/2006/relationships/oleObject" Target="../embeddings/oleObject43.bin"/><Relationship Id="rId5" Type="http://schemas.openxmlformats.org/officeDocument/2006/relationships/image" Target="../media/image98.svg"/><Relationship Id="rId10" Type="http://schemas.openxmlformats.org/officeDocument/2006/relationships/image" Target="../media/image101.png"/><Relationship Id="rId4" Type="http://schemas.openxmlformats.org/officeDocument/2006/relationships/image" Target="../media/image97.png"/><Relationship Id="rId9" Type="http://schemas.openxmlformats.org/officeDocument/2006/relationships/image" Target="../media/image100.svg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2.png"/><Relationship Id="rId3" Type="http://schemas.openxmlformats.org/officeDocument/2006/relationships/image" Target="../media/image49.emf"/><Relationship Id="rId7" Type="http://schemas.openxmlformats.org/officeDocument/2006/relationships/image" Target="../media/image1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5.xml"/><Relationship Id="rId6" Type="http://schemas.openxmlformats.org/officeDocument/2006/relationships/oleObject" Target="../embeddings/oleObject44.bin"/><Relationship Id="rId11" Type="http://schemas.openxmlformats.org/officeDocument/2006/relationships/image" Target="../media/image105.svg"/><Relationship Id="rId5" Type="http://schemas.openxmlformats.org/officeDocument/2006/relationships/image" Target="../media/image84.svg"/><Relationship Id="rId10" Type="http://schemas.openxmlformats.org/officeDocument/2006/relationships/image" Target="../media/image104.png"/><Relationship Id="rId4" Type="http://schemas.openxmlformats.org/officeDocument/2006/relationships/image" Target="../media/image83.png"/><Relationship Id="rId9" Type="http://schemas.openxmlformats.org/officeDocument/2006/relationships/image" Target="../media/image103.svg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6.png"/><Relationship Id="rId3" Type="http://schemas.openxmlformats.org/officeDocument/2006/relationships/image" Target="../media/image67.emf"/><Relationship Id="rId7" Type="http://schemas.openxmlformats.org/officeDocument/2006/relationships/image" Target="../media/image1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6.xml"/><Relationship Id="rId6" Type="http://schemas.openxmlformats.org/officeDocument/2006/relationships/oleObject" Target="../embeddings/oleObject45.bin"/><Relationship Id="rId11" Type="http://schemas.openxmlformats.org/officeDocument/2006/relationships/image" Target="../media/image109.svg"/><Relationship Id="rId5" Type="http://schemas.openxmlformats.org/officeDocument/2006/relationships/image" Target="../media/image69.svg"/><Relationship Id="rId10" Type="http://schemas.openxmlformats.org/officeDocument/2006/relationships/image" Target="../media/image108.png"/><Relationship Id="rId4" Type="http://schemas.openxmlformats.org/officeDocument/2006/relationships/image" Target="../media/image68.png"/><Relationship Id="rId9" Type="http://schemas.openxmlformats.org/officeDocument/2006/relationships/image" Target="../media/image107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wmf"/><Relationship Id="rId7" Type="http://schemas.openxmlformats.org/officeDocument/2006/relationships/image" Target="../media/image18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2.png"/><Relationship Id="rId3" Type="http://schemas.openxmlformats.org/officeDocument/2006/relationships/image" Target="../media/image67.emf"/><Relationship Id="rId7" Type="http://schemas.openxmlformats.org/officeDocument/2006/relationships/image" Target="../media/image1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7.xml"/><Relationship Id="rId6" Type="http://schemas.openxmlformats.org/officeDocument/2006/relationships/oleObject" Target="../embeddings/oleObject46.bin"/><Relationship Id="rId5" Type="http://schemas.openxmlformats.org/officeDocument/2006/relationships/image" Target="../media/image111.svg"/><Relationship Id="rId10" Type="http://schemas.openxmlformats.org/officeDocument/2006/relationships/image" Target="../media/image114.emf"/><Relationship Id="rId4" Type="http://schemas.openxmlformats.org/officeDocument/2006/relationships/image" Target="../media/image110.png"/><Relationship Id="rId9" Type="http://schemas.openxmlformats.org/officeDocument/2006/relationships/image" Target="../media/image113.svg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9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0.bin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9.png"/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119.png"/><Relationship Id="rId4" Type="http://schemas.openxmlformats.org/officeDocument/2006/relationships/image" Target="../media/image120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7" Type="http://schemas.openxmlformats.org/officeDocument/2006/relationships/image" Target="../media/image19.w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emf"/><Relationship Id="rId3" Type="http://schemas.openxmlformats.org/officeDocument/2006/relationships/image" Target="../media/image20.wmf"/><Relationship Id="rId7" Type="http://schemas.openxmlformats.org/officeDocument/2006/relationships/image" Target="../media/image18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image" Target="../media/image22.w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8.svg"/><Relationship Id="rId4" Type="http://schemas.openxmlformats.org/officeDocument/2006/relationships/image" Target="../media/image17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485F10A-E66C-4489-AA0B-94914B2089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41145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485F10A-E66C-4489-AA0B-94914B2089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B1AA0DB6-5A8E-3741-A2E5-D936D902DDC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38973" y="4846683"/>
            <a:ext cx="5278437" cy="388554"/>
          </a:xfrm>
        </p:spPr>
        <p:txBody>
          <a:bodyPr tIns="36000" anchor="ctr" anchorCtr="0">
            <a:noAutofit/>
          </a:bodyPr>
          <a:lstStyle>
            <a:lvl1pPr marL="0" indent="0" algn="l">
              <a:lnSpc>
                <a:spcPct val="90000"/>
              </a:lnSpc>
              <a:buNone/>
              <a:defRPr sz="2400" b="1" i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ED3701CF-5DFA-EE46-92C6-82EBEFFD83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38973" y="5312130"/>
            <a:ext cx="5278437" cy="312131"/>
          </a:xfrm>
        </p:spPr>
        <p:txBody>
          <a:bodyPr tIns="72000" anchor="ctr" anchorCtr="0">
            <a:noAutofit/>
          </a:bodyPr>
          <a:lstStyle>
            <a:lvl1pPr marL="0" indent="0" algn="l">
              <a:lnSpc>
                <a:spcPct val="90000"/>
              </a:lnSpc>
              <a:buNone/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peaker Title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08E4E795-5B28-AA4F-9CA0-12577F806AA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38973" y="5771692"/>
            <a:ext cx="5278437" cy="312131"/>
          </a:xfrm>
        </p:spPr>
        <p:txBody>
          <a:bodyPr tIns="72000" anchor="ctr" anchorCtr="0">
            <a:noAutofit/>
          </a:bodyPr>
          <a:lstStyle>
            <a:lvl1pPr marL="0" indent="0" algn="l">
              <a:lnSpc>
                <a:spcPts val="1800"/>
              </a:lnSpc>
              <a:buNone/>
              <a:defRPr sz="1800" b="0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8" name="Title 3">
            <a:extLst>
              <a:ext uri="{FF2B5EF4-FFF2-40B4-BE49-F238E27FC236}">
                <a16:creationId xmlns:a16="http://schemas.microsoft.com/office/drawing/2014/main" id="{9EE63D74-8A47-0A4F-A4FD-DE60CD33AB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8973" y="1594770"/>
            <a:ext cx="5261778" cy="1199693"/>
          </a:xfrm>
          <a:prstGeom prst="rect">
            <a:avLst/>
          </a:prstGeom>
        </p:spPr>
        <p:txBody>
          <a:bodyPr lIns="0" tIns="108000" rIns="0" bIns="0" anchor="t" anchorCtr="0">
            <a:noAutofit/>
          </a:bodyPr>
          <a:lstStyle>
            <a:lvl1pPr>
              <a:lnSpc>
                <a:spcPct val="85000"/>
              </a:lnSpc>
              <a:defRPr sz="4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BG"/>
          </a:p>
        </p:txBody>
      </p:sp>
      <p:pic>
        <p:nvPicPr>
          <p:cNvPr id="13" name="Picture 2">
            <a:extLst>
              <a:ext uri="{FF2B5EF4-FFF2-40B4-BE49-F238E27FC236}">
                <a16:creationId xmlns:a16="http://schemas.microsoft.com/office/drawing/2014/main" id="{77BE795C-072A-459C-8648-8D68BC93FAA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426315" y="745314"/>
            <a:ext cx="1341526" cy="311178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4D3546BD-7E45-4960-A98F-8DEA36022CB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37375" y="0"/>
            <a:ext cx="5755123" cy="6858594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6B76E93-9883-F34D-AFCA-0B3B5698689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38973" y="3356068"/>
            <a:ext cx="5294312" cy="674687"/>
          </a:xfrm>
        </p:spPr>
        <p:txBody>
          <a:bodyPr/>
          <a:lstStyle>
            <a:lvl1pPr marL="0" indent="0">
              <a:lnSpc>
                <a:spcPct val="114000"/>
              </a:lnSpc>
              <a:buNone/>
              <a:defRPr sz="2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GB" err="1"/>
              <a:t>Subheadline</a:t>
            </a:r>
            <a:endParaRPr lang="en-BG"/>
          </a:p>
        </p:txBody>
      </p:sp>
    </p:spTree>
    <p:extLst>
      <p:ext uri="{BB962C8B-B14F-4D97-AF65-F5344CB8AC3E}">
        <p14:creationId xmlns:p14="http://schemas.microsoft.com/office/powerpoint/2010/main" val="32708060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90CD74EF-88A7-BA0A-D5E3-994D57561A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7124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ADEF2908-ED85-2A14-5FA5-801BBE8ACBB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4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860" t="19770" r="48897" b="51917"/>
          <a:stretch/>
        </p:blipFill>
        <p:spPr>
          <a:xfrm>
            <a:off x="5020886" y="2592388"/>
            <a:ext cx="7171113" cy="4265612"/>
          </a:xfrm>
          <a:prstGeom prst="rect">
            <a:avLst/>
          </a:prstGeom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CB40B33-A7C9-794A-8DD4-F029935874E2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6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1" smtClean="0">
                <a:solidFill>
                  <a:schemeClr val="bg1">
                    <a:alpha val="69766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1">
              <a:solidFill>
                <a:schemeClr val="bg1">
                  <a:alpha val="69766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86C245B-9648-EA4E-836E-6BBB5FA39829}"/>
              </a:ext>
            </a:extLst>
          </p:cNvPr>
          <p:cNvSpPr txBox="1"/>
          <p:nvPr userDrawn="1"/>
        </p:nvSpPr>
        <p:spPr>
          <a:xfrm>
            <a:off x="4507424" y="6554397"/>
            <a:ext cx="3177152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600" b="0" spc="0" baseline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4 </a:t>
            </a:r>
            <a:r>
              <a:rPr lang="en-US" sz="600" b="0" i="0" spc="0" baseline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r>
              <a:rPr lang="en-US" sz="600" b="0" spc="0" baseline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ftware Corporation and/or its subsidiaries or affiliates. All rights reserved.</a:t>
            </a:r>
          </a:p>
        </p:txBody>
      </p:sp>
      <p:sp>
        <p:nvSpPr>
          <p:cNvPr id="2" name="Rectangle 3">
            <a:extLst>
              <a:ext uri="{FF2B5EF4-FFF2-40B4-BE49-F238E27FC236}">
                <a16:creationId xmlns:a16="http://schemas.microsoft.com/office/drawing/2014/main" id="{BCB04082-9BDB-31FF-09E3-BCCE765EF811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 bwMode="auto">
          <a:xfrm>
            <a:off x="2609126" y="2592388"/>
            <a:ext cx="6973747" cy="1606550"/>
          </a:xfrm>
          <a:prstGeom prst="rect">
            <a:avLst/>
          </a:prstGeom>
          <a:ln algn="ctr"/>
        </p:spPr>
        <p:txBody>
          <a:bodyPr vert="horz" lIns="0" tIns="0" rIns="0" bIns="0" anchor="ctr" anchorCtr="0">
            <a:noAutofit/>
          </a:bodyPr>
          <a:lstStyle>
            <a:lvl1pPr algn="ctr">
              <a:lnSpc>
                <a:spcPct val="85000"/>
              </a:lnSpc>
              <a:defRPr sz="4000" b="1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defRPr>
            </a:lvl1pPr>
          </a:lstStyle>
          <a:p>
            <a:r>
              <a:rPr lang="en-US"/>
              <a:t>Centered Title Style</a:t>
            </a:r>
            <a:br>
              <a:rPr lang="en-US"/>
            </a:br>
            <a:r>
              <a:rPr lang="en-US"/>
              <a:t>Up to</a:t>
            </a:r>
            <a:br>
              <a:rPr lang="en-US"/>
            </a:br>
            <a:r>
              <a:rPr lang="en-US"/>
              <a:t>Three Lines</a:t>
            </a:r>
          </a:p>
        </p:txBody>
      </p:sp>
      <p:pic>
        <p:nvPicPr>
          <p:cNvPr id="7" name="Picture 3">
            <a:extLst>
              <a:ext uri="{FF2B5EF4-FFF2-40B4-BE49-F238E27FC236}">
                <a16:creationId xmlns:a16="http://schemas.microsoft.com/office/drawing/2014/main" id="{CFF3731A-EFE4-C688-3AFC-EE08E680615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494075" y="6445423"/>
            <a:ext cx="939600" cy="217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14566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qu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AE07A5C9-E2A5-EBBC-AFC4-290FA6ACC82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08" y="-6545"/>
            <a:ext cx="12184980" cy="666326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C95D576-686E-B842-FBF4-75B8C0003FB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8724" t="-16457" r="-1"/>
          <a:stretch/>
        </p:blipFill>
        <p:spPr>
          <a:xfrm>
            <a:off x="-3954486" y="4655126"/>
            <a:ext cx="12192002" cy="6858001"/>
          </a:xfrm>
          <a:prstGeom prst="rect">
            <a:avLst/>
          </a:prstGeom>
          <a:ln>
            <a:noFill/>
          </a:ln>
        </p:spPr>
      </p:pic>
      <p:sp>
        <p:nvSpPr>
          <p:cNvPr id="2" name="Rectangle 3">
            <a:extLst>
              <a:ext uri="{FF2B5EF4-FFF2-40B4-BE49-F238E27FC236}">
                <a16:creationId xmlns:a16="http://schemas.microsoft.com/office/drawing/2014/main" id="{BCB04082-9BDB-31FF-09E3-BCCE765EF811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 bwMode="auto">
          <a:xfrm>
            <a:off x="2609126" y="2592388"/>
            <a:ext cx="6973747" cy="1606550"/>
          </a:xfrm>
          <a:prstGeom prst="rect">
            <a:avLst/>
          </a:prstGeom>
          <a:ln algn="ctr"/>
        </p:spPr>
        <p:txBody>
          <a:bodyPr vert="horz" lIns="0" tIns="0" rIns="0" bIns="0" anchor="ctr" anchorCtr="0">
            <a:noAutofit/>
          </a:bodyPr>
          <a:lstStyle>
            <a:lvl1pPr algn="ctr">
              <a:lnSpc>
                <a:spcPct val="85000"/>
              </a:lnSpc>
              <a:defRPr sz="4000" b="1">
                <a:solidFill>
                  <a:schemeClr val="tx1"/>
                </a:solidFill>
                <a:latin typeface="Arial" panose="020B0604020202020204" pitchFamily="34" charset="0"/>
                <a:cs typeface="Arial" pitchFamily="34" charset="0"/>
              </a:defRPr>
            </a:lvl1pPr>
          </a:lstStyle>
          <a:p>
            <a:r>
              <a:rPr lang="en-US"/>
              <a:t>Centered Title Style</a:t>
            </a:r>
            <a:br>
              <a:rPr lang="en-US"/>
            </a:br>
            <a:r>
              <a:rPr lang="en-US"/>
              <a:t>Up to</a:t>
            </a:r>
            <a:br>
              <a:rPr lang="en-US"/>
            </a:br>
            <a:r>
              <a:rPr lang="en-US"/>
              <a:t>Three Lines</a:t>
            </a:r>
          </a:p>
        </p:txBody>
      </p:sp>
    </p:spTree>
    <p:extLst>
      <p:ext uri="{BB962C8B-B14F-4D97-AF65-F5344CB8AC3E}">
        <p14:creationId xmlns:p14="http://schemas.microsoft.com/office/powerpoint/2010/main" val="398757153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94317C52-CA2C-5D17-CE18-670F7E19077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62"/>
          <a:stretch/>
        </p:blipFill>
        <p:spPr>
          <a:xfrm>
            <a:off x="-3908" y="0"/>
            <a:ext cx="5229174" cy="6858000"/>
          </a:xfrm>
          <a:prstGeom prst="rect">
            <a:avLst/>
          </a:prstGeom>
        </p:spPr>
      </p:pic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61753ADC-75D8-4448-B5D4-E9BBB1B32F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35307" y="538162"/>
            <a:ext cx="5634381" cy="1117523"/>
          </a:xfrm>
          <a:prstGeom prst="rect">
            <a:avLst/>
          </a:prstGeom>
        </p:spPr>
        <p:txBody>
          <a:bodyPr vert="horz" lIns="0" tIns="108000" rIns="0" bIns="0" rtlCol="0" anchor="t" anchorCtr="0">
            <a:noAutofit/>
          </a:bodyPr>
          <a:lstStyle/>
          <a:p>
            <a:r>
              <a:rPr lang="en-GB"/>
              <a:t>Agenda</a:t>
            </a:r>
            <a:endParaRPr lang="en-BG"/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7717AEA2-C535-A841-90FA-42041EABB7A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25509" y="1814513"/>
            <a:ext cx="5632687" cy="4487862"/>
          </a:xfrm>
        </p:spPr>
        <p:txBody>
          <a:bodyPr/>
          <a:lstStyle>
            <a:lvl1pPr marL="278325" indent="-278325">
              <a:tabLst/>
              <a:defRPr/>
            </a:lvl1pPr>
            <a:lvl3pPr marL="668338" indent="-185738">
              <a:tabLst/>
              <a:defRPr/>
            </a:lvl3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BG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7B4C29-929C-16B0-D499-37624916C4E9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6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0" i="0" smtClean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0" i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4B40242-1D99-1BB3-8DCD-1164BB0FA220}"/>
              </a:ext>
            </a:extLst>
          </p:cNvPr>
          <p:cNvSpPr txBox="1"/>
          <p:nvPr userDrawn="1"/>
        </p:nvSpPr>
        <p:spPr>
          <a:xfrm>
            <a:off x="5835307" y="6554397"/>
            <a:ext cx="3177152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600" b="0" spc="0" baseline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4 </a:t>
            </a:r>
            <a:r>
              <a:rPr lang="en-US" sz="600" b="0" i="0" spc="0" baseline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r>
              <a:rPr lang="en-US" sz="600" b="0" spc="0" baseline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ftware Corporation and/or its subsidiaries or affiliates. All rights reserved.</a:t>
            </a:r>
          </a:p>
        </p:txBody>
      </p:sp>
      <p:pic>
        <p:nvPicPr>
          <p:cNvPr id="13" name="Picture 3">
            <a:extLst>
              <a:ext uri="{FF2B5EF4-FFF2-40B4-BE49-F238E27FC236}">
                <a16:creationId xmlns:a16="http://schemas.microsoft.com/office/drawing/2014/main" id="{565C78F4-70EB-2B11-FC92-062249EA547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494075" y="6445423"/>
            <a:ext cx="939600" cy="217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563821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7">
            <a:extLst>
              <a:ext uri="{FF2B5EF4-FFF2-40B4-BE49-F238E27FC236}">
                <a16:creationId xmlns:a16="http://schemas.microsoft.com/office/drawing/2014/main" id="{1D14C74F-C6B8-BA4D-B7D2-50D8BE1D38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65891" y="538162"/>
            <a:ext cx="8503797" cy="1117523"/>
          </a:xfrm>
          <a:prstGeom prst="rect">
            <a:avLst/>
          </a:prstGeom>
        </p:spPr>
        <p:txBody>
          <a:bodyPr vert="horz" lIns="0" tIns="108000" rIns="0" bIns="0" rtlCol="0" anchor="t" anchorCtr="0">
            <a:noAutofit/>
          </a:bodyPr>
          <a:lstStyle/>
          <a:p>
            <a:r>
              <a:rPr lang="en-GB"/>
              <a:t>Agenda</a:t>
            </a:r>
            <a:endParaRPr lang="en-BG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5ABA020A-167C-8548-B132-41F414F8BC1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956956" y="1814513"/>
            <a:ext cx="8501240" cy="4487862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BG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1A24B2D0-EC88-391E-C8D9-49C0E15EA20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286"/>
            <a:ext cx="2545839" cy="57175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9753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53A27003-DC61-C64B-B594-FC0DBDB245C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DE9F7"/>
          </a:solidFill>
        </p:spPr>
        <p:txBody>
          <a:bodyPr vert="horz" lIns="91440" tIns="72000" rIns="91440" bIns="756000" rtlCol="0" anchor="ctr">
            <a:noAutofit/>
          </a:bodyPr>
          <a:lstStyle>
            <a:lvl1pPr algn="ctr">
              <a:defRPr lang="id-ID" sz="18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>
              <a:buNone/>
            </a:pPr>
            <a:r>
              <a:rPr lang="en-GB"/>
              <a:t>Click icon to add picture</a:t>
            </a:r>
            <a:endParaRPr lang="id-ID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485F10A-E66C-4489-AA0B-94914B2089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41450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485F10A-E66C-4489-AA0B-94914B2089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>
            <a:extLst>
              <a:ext uri="{FF2B5EF4-FFF2-40B4-BE49-F238E27FC236}">
                <a16:creationId xmlns:a16="http://schemas.microsoft.com/office/drawing/2014/main" id="{0914E58E-8C0C-C445-92B6-E34490EA0F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2312" y="4198939"/>
            <a:ext cx="7102475" cy="2038350"/>
          </a:xfrm>
          <a:prstGeom prst="rect">
            <a:avLst/>
          </a:prstGeom>
        </p:spPr>
        <p:txBody>
          <a:bodyPr vert="horz" tIns="144000" anchor="t">
            <a:noAutofit/>
          </a:bodyPr>
          <a:lstStyle>
            <a:lvl1pPr>
              <a:lnSpc>
                <a:spcPct val="90000"/>
              </a:lnSpc>
              <a:defRPr lang="en-US" sz="5000" b="1" i="0" kern="0" spc="-150" noProof="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/>
              <a:t>Very Important </a:t>
            </a:r>
            <a:br>
              <a:rPr lang="bg-BG"/>
            </a:br>
            <a:r>
              <a:rPr lang="en-US"/>
              <a:t>Message / Statement </a:t>
            </a:r>
            <a:br>
              <a:rPr lang="bg-BG"/>
            </a:br>
            <a:r>
              <a:rPr lang="en-US"/>
              <a:t>/ Conclusion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24BB9F5E-A805-46CD-8420-640AE6C67799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6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0" smtClean="0">
                <a:solidFill>
                  <a:schemeClr val="bg1">
                    <a:alpha val="69766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0">
              <a:solidFill>
                <a:schemeClr val="bg1">
                  <a:alpha val="69766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59FE59C-2AB9-319A-B3AC-551DCA8B2171}"/>
              </a:ext>
            </a:extLst>
          </p:cNvPr>
          <p:cNvSpPr txBox="1"/>
          <p:nvPr userDrawn="1"/>
        </p:nvSpPr>
        <p:spPr>
          <a:xfrm>
            <a:off x="4507424" y="6554397"/>
            <a:ext cx="3177152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600" b="0" spc="0" baseline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4 </a:t>
            </a:r>
            <a:r>
              <a:rPr lang="en-US" sz="600" b="0" i="0" spc="0" baseline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r>
              <a:rPr lang="en-US" sz="600" b="0" spc="0" baseline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ftware Corporation and/or its subsidiaries or affiliates. All rights reserved.</a:t>
            </a:r>
          </a:p>
        </p:txBody>
      </p:sp>
      <p:pic>
        <p:nvPicPr>
          <p:cNvPr id="5" name="Picture 3">
            <a:extLst>
              <a:ext uri="{FF2B5EF4-FFF2-40B4-BE49-F238E27FC236}">
                <a16:creationId xmlns:a16="http://schemas.microsoft.com/office/drawing/2014/main" id="{F69A72E1-A963-2476-1A04-1E6BD011D44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494075" y="6445423"/>
            <a:ext cx="939600" cy="217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149377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slide 1">
    <p:bg>
      <p:bgPr>
        <a:solidFill>
          <a:srgbClr val="4A41F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727FD7B2-A828-1FE3-CB47-CD1F99CE8E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33" y="-12"/>
            <a:ext cx="12192000" cy="6858001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FA1A1009-D767-594A-B505-AA18289D9C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5628" t="21844" r="49798" b="53049"/>
          <a:stretch/>
        </p:blipFill>
        <p:spPr>
          <a:xfrm>
            <a:off x="6010102" y="3350029"/>
            <a:ext cx="6173585" cy="3507961"/>
          </a:xfrm>
          <a:prstGeom prst="rect">
            <a:avLst/>
          </a:prstGeom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48EB774F-D493-4254-A24C-E9681757802C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6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1" smtClean="0">
                <a:solidFill>
                  <a:schemeClr val="bg1">
                    <a:alpha val="69766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1">
              <a:solidFill>
                <a:schemeClr val="bg1">
                  <a:alpha val="69766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806FEC3-598C-8A4B-9E0E-C28EF72E794F}"/>
              </a:ext>
            </a:extLst>
          </p:cNvPr>
          <p:cNvSpPr txBox="1"/>
          <p:nvPr userDrawn="1"/>
        </p:nvSpPr>
        <p:spPr>
          <a:xfrm>
            <a:off x="4507424" y="6554397"/>
            <a:ext cx="3177152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600" b="0" spc="0" baseline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4 </a:t>
            </a:r>
            <a:r>
              <a:rPr lang="en-US" sz="600" b="0" i="0" spc="0" baseline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r>
              <a:rPr lang="en-US" sz="600" b="0" spc="0" baseline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ftware Corporation and/or its subsidiaries or affiliates. All rights reserve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A01C3E-6DDF-C561-ADB5-64AA2B167D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2312" y="4198939"/>
            <a:ext cx="7102475" cy="2038350"/>
          </a:xfrm>
          <a:prstGeom prst="rect">
            <a:avLst/>
          </a:prstGeom>
        </p:spPr>
        <p:txBody>
          <a:bodyPr vert="horz" tIns="144000" anchor="t">
            <a:noAutofit/>
          </a:bodyPr>
          <a:lstStyle>
            <a:lvl1pPr>
              <a:lnSpc>
                <a:spcPct val="90000"/>
              </a:lnSpc>
              <a:defRPr lang="en-US" sz="5000" b="1" i="0" kern="0" spc="-150" noProof="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/>
              <a:t>Very Important </a:t>
            </a:r>
            <a:br>
              <a:rPr lang="bg-BG"/>
            </a:br>
            <a:r>
              <a:rPr lang="en-US"/>
              <a:t>Message / Statement </a:t>
            </a:r>
            <a:br>
              <a:rPr lang="bg-BG"/>
            </a:br>
            <a:r>
              <a:rPr lang="en-US"/>
              <a:t>/ Conclusion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FD8F5FC-90D4-26E2-2807-DC1F22B25176}"/>
              </a:ext>
            </a:extLst>
          </p:cNvPr>
          <p:cNvSpPr txBox="1"/>
          <p:nvPr userDrawn="1"/>
        </p:nvSpPr>
        <p:spPr>
          <a:xfrm>
            <a:off x="20929600" y="28651200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en-BG" sz="240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339E9BE-AB7A-2053-4DFF-C0D98D6232E8}"/>
              </a:ext>
            </a:extLst>
          </p:cNvPr>
          <p:cNvSpPr txBox="1"/>
          <p:nvPr userDrawn="1"/>
        </p:nvSpPr>
        <p:spPr>
          <a:xfrm>
            <a:off x="20482560" y="-10546080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en-BG" sz="2400"/>
          </a:p>
        </p:txBody>
      </p:sp>
      <p:pic>
        <p:nvPicPr>
          <p:cNvPr id="7" name="Picture 3">
            <a:extLst>
              <a:ext uri="{FF2B5EF4-FFF2-40B4-BE49-F238E27FC236}">
                <a16:creationId xmlns:a16="http://schemas.microsoft.com/office/drawing/2014/main" id="{C2906BBF-60CE-452D-63A5-4A0FC2ADC06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494075" y="6445423"/>
            <a:ext cx="939600" cy="217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13388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Slide 2">
    <p:bg>
      <p:bgPr>
        <a:solidFill>
          <a:srgbClr val="00B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CF8A3091-6DB8-DCBF-D10D-5CB65CF881A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42" b="14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48EB774F-D493-4254-A24C-E9681757802C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6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1" smtClean="0">
                <a:solidFill>
                  <a:schemeClr val="bg1">
                    <a:alpha val="69766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1">
              <a:solidFill>
                <a:schemeClr val="bg1">
                  <a:alpha val="69766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806FEC3-598C-8A4B-9E0E-C28EF72E794F}"/>
              </a:ext>
            </a:extLst>
          </p:cNvPr>
          <p:cNvSpPr txBox="1"/>
          <p:nvPr userDrawn="1"/>
        </p:nvSpPr>
        <p:spPr>
          <a:xfrm>
            <a:off x="4507424" y="6554397"/>
            <a:ext cx="3177152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600" b="0" spc="0" baseline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4 </a:t>
            </a:r>
            <a:r>
              <a:rPr lang="en-US" sz="600" b="0" i="0" spc="0" baseline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r>
              <a:rPr lang="en-US" sz="600" b="0" spc="0" baseline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ftware Corporation and/or its subsidiaries or affiliates. All rights reserve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A01C3E-6DDF-C561-ADB5-64AA2B167D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2312" y="4198939"/>
            <a:ext cx="7102475" cy="2038350"/>
          </a:xfrm>
          <a:prstGeom prst="rect">
            <a:avLst/>
          </a:prstGeom>
        </p:spPr>
        <p:txBody>
          <a:bodyPr vert="horz" tIns="144000" anchor="t">
            <a:noAutofit/>
          </a:bodyPr>
          <a:lstStyle>
            <a:lvl1pPr>
              <a:lnSpc>
                <a:spcPct val="90000"/>
              </a:lnSpc>
              <a:defRPr lang="en-US" sz="5000" b="1" i="0" kern="0" spc="-150" noProof="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/>
              <a:t>Very Important </a:t>
            </a:r>
            <a:br>
              <a:rPr lang="bg-BG"/>
            </a:br>
            <a:r>
              <a:rPr lang="en-US"/>
              <a:t>Message / Statement </a:t>
            </a:r>
            <a:br>
              <a:rPr lang="bg-BG"/>
            </a:br>
            <a:r>
              <a:rPr lang="en-US"/>
              <a:t>/ Conclusion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FD8F5FC-90D4-26E2-2807-DC1F22B25176}"/>
              </a:ext>
            </a:extLst>
          </p:cNvPr>
          <p:cNvSpPr txBox="1"/>
          <p:nvPr userDrawn="1"/>
        </p:nvSpPr>
        <p:spPr>
          <a:xfrm>
            <a:off x="20929600" y="28651200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en-BG" sz="240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339E9BE-AB7A-2053-4DFF-C0D98D6232E8}"/>
              </a:ext>
            </a:extLst>
          </p:cNvPr>
          <p:cNvSpPr txBox="1"/>
          <p:nvPr userDrawn="1"/>
        </p:nvSpPr>
        <p:spPr>
          <a:xfrm>
            <a:off x="20482560" y="-10546080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en-BG" sz="2400"/>
          </a:p>
        </p:txBody>
      </p:sp>
      <p:pic>
        <p:nvPicPr>
          <p:cNvPr id="3" name="Picture 3">
            <a:extLst>
              <a:ext uri="{FF2B5EF4-FFF2-40B4-BE49-F238E27FC236}">
                <a16:creationId xmlns:a16="http://schemas.microsoft.com/office/drawing/2014/main" id="{F2E64471-9F7C-3798-F442-86CB17C5626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494075" y="6445423"/>
            <a:ext cx="939600" cy="21794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B196753-5C57-BAD0-EA7E-3AF34D839E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252" t="21844" r="49797" b="30528"/>
          <a:stretch/>
        </p:blipFill>
        <p:spPr>
          <a:xfrm rot="14400000">
            <a:off x="6285791" y="-1569976"/>
            <a:ext cx="6833061" cy="6218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233673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DE9F7"/>
          </a:solidFill>
        </p:spPr>
        <p:txBody>
          <a:bodyPr vert="horz" lIns="91440" tIns="72000" rIns="91440" bIns="756000" rtlCol="0" anchor="ctr">
            <a:noAutofit/>
          </a:bodyPr>
          <a:lstStyle>
            <a:lvl1pPr algn="ctr">
              <a:defRPr lang="id-ID" sz="1800"/>
            </a:lvl1pPr>
          </a:lstStyle>
          <a:p>
            <a:pPr marL="0" lvl="0" indent="0" algn="ctr">
              <a:buNone/>
            </a:pPr>
            <a:r>
              <a:rPr lang="en-GB"/>
              <a:t>Click icon to add picture</a:t>
            </a:r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88605083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2287B1-B399-4ED6-9191-9832616F1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69719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2287B1-B399-4ED6-9191-9832616F1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7">
            <a:extLst>
              <a:ext uri="{FF2B5EF4-FFF2-40B4-BE49-F238E27FC236}">
                <a16:creationId xmlns:a16="http://schemas.microsoft.com/office/drawing/2014/main" id="{97D07DB7-7D51-724B-BE5C-77B45E5DBA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3" y="538163"/>
            <a:ext cx="10747374" cy="1139825"/>
          </a:xfrm>
          <a:prstGeom prst="rect">
            <a:avLst/>
          </a:prstGeom>
        </p:spPr>
        <p:txBody>
          <a:bodyPr vert="horz" lIns="0" tIns="10800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en-BG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3097676-D6A1-2D4B-BDD3-E7E914641366}"/>
              </a:ext>
            </a:extLst>
          </p:cNvPr>
          <p:cNvSpPr txBox="1"/>
          <p:nvPr userDrawn="1"/>
        </p:nvSpPr>
        <p:spPr>
          <a:xfrm>
            <a:off x="722313" y="1780674"/>
            <a:ext cx="10747374" cy="44490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en-BG" sz="240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8C9353E-244A-3B4E-B54E-FCA42C07336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2313" y="1863725"/>
            <a:ext cx="10747375" cy="4365625"/>
          </a:xfrm>
        </p:spPr>
        <p:txBody>
          <a:bodyPr/>
          <a:lstStyle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BG"/>
          </a:p>
        </p:txBody>
      </p:sp>
    </p:spTree>
    <p:extLst>
      <p:ext uri="{BB962C8B-B14F-4D97-AF65-F5344CB8AC3E}">
        <p14:creationId xmlns:p14="http://schemas.microsoft.com/office/powerpoint/2010/main" val="7865173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2287B1-B399-4ED6-9191-9832616F1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72052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2287B1-B399-4ED6-9191-9832616F1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7">
            <a:extLst>
              <a:ext uri="{FF2B5EF4-FFF2-40B4-BE49-F238E27FC236}">
                <a16:creationId xmlns:a16="http://schemas.microsoft.com/office/drawing/2014/main" id="{97D07DB7-7D51-724B-BE5C-77B45E5DBA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3" y="538163"/>
            <a:ext cx="10747375" cy="1139825"/>
          </a:xfrm>
          <a:prstGeom prst="rect">
            <a:avLst/>
          </a:prstGeom>
        </p:spPr>
        <p:txBody>
          <a:bodyPr vert="horz" lIns="0" tIns="10800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en-BG"/>
          </a:p>
        </p:txBody>
      </p:sp>
      <p:sp>
        <p:nvSpPr>
          <p:cNvPr id="2" name="Text Placeholder 5">
            <a:extLst>
              <a:ext uri="{FF2B5EF4-FFF2-40B4-BE49-F238E27FC236}">
                <a16:creationId xmlns:a16="http://schemas.microsoft.com/office/drawing/2014/main" id="{31029E73-BFE8-B8C1-B83C-C04F70E76A7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2313" y="1863725"/>
            <a:ext cx="10747375" cy="4365625"/>
          </a:xfrm>
        </p:spPr>
        <p:txBody>
          <a:bodyPr/>
          <a:lstStyle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BG"/>
          </a:p>
        </p:txBody>
      </p:sp>
    </p:spTree>
    <p:extLst>
      <p:ext uri="{BB962C8B-B14F-4D97-AF65-F5344CB8AC3E}">
        <p14:creationId xmlns:p14="http://schemas.microsoft.com/office/powerpoint/2010/main" val="39152548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anim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485F10A-E66C-4489-AA0B-94914B2089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41145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485F10A-E66C-4489-AA0B-94914B2089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B1AA0DB6-5A8E-3741-A2E5-D936D902DDC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38973" y="4846683"/>
            <a:ext cx="5278437" cy="388554"/>
          </a:xfrm>
        </p:spPr>
        <p:txBody>
          <a:bodyPr tIns="36000" anchor="ctr" anchorCtr="0">
            <a:noAutofit/>
          </a:bodyPr>
          <a:lstStyle>
            <a:lvl1pPr marL="0" indent="0" algn="l">
              <a:lnSpc>
                <a:spcPct val="90000"/>
              </a:lnSpc>
              <a:buNone/>
              <a:defRPr sz="2400" b="1" i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ED3701CF-5DFA-EE46-92C6-82EBEFFD83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38973" y="5312130"/>
            <a:ext cx="5278437" cy="312131"/>
          </a:xfrm>
        </p:spPr>
        <p:txBody>
          <a:bodyPr tIns="72000" anchor="ctr" anchorCtr="0">
            <a:noAutofit/>
          </a:bodyPr>
          <a:lstStyle>
            <a:lvl1pPr marL="0" indent="0" algn="l">
              <a:lnSpc>
                <a:spcPct val="90000"/>
              </a:lnSpc>
              <a:buNone/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peaker Title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08E4E795-5B28-AA4F-9CA0-12577F806AA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38973" y="5771692"/>
            <a:ext cx="5278437" cy="312131"/>
          </a:xfrm>
        </p:spPr>
        <p:txBody>
          <a:bodyPr tIns="72000" anchor="ctr" anchorCtr="0">
            <a:noAutofit/>
          </a:bodyPr>
          <a:lstStyle>
            <a:lvl1pPr marL="0" indent="0" algn="l">
              <a:lnSpc>
                <a:spcPts val="1800"/>
              </a:lnSpc>
              <a:buNone/>
              <a:defRPr sz="1800" b="0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8" name="Title 3">
            <a:extLst>
              <a:ext uri="{FF2B5EF4-FFF2-40B4-BE49-F238E27FC236}">
                <a16:creationId xmlns:a16="http://schemas.microsoft.com/office/drawing/2014/main" id="{9EE63D74-8A47-0A4F-A4FD-DE60CD33AB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8973" y="1594770"/>
            <a:ext cx="5261778" cy="1199693"/>
          </a:xfrm>
          <a:prstGeom prst="rect">
            <a:avLst/>
          </a:prstGeom>
        </p:spPr>
        <p:txBody>
          <a:bodyPr lIns="0" tIns="108000" rIns="0" bIns="0" anchor="t" anchorCtr="0">
            <a:noAutofit/>
          </a:bodyPr>
          <a:lstStyle>
            <a:lvl1pPr>
              <a:lnSpc>
                <a:spcPct val="85000"/>
              </a:lnSpc>
              <a:defRPr sz="4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BG"/>
          </a:p>
        </p:txBody>
      </p:sp>
      <p:pic>
        <p:nvPicPr>
          <p:cNvPr id="13" name="Picture 2">
            <a:extLst>
              <a:ext uri="{FF2B5EF4-FFF2-40B4-BE49-F238E27FC236}">
                <a16:creationId xmlns:a16="http://schemas.microsoft.com/office/drawing/2014/main" id="{77BE795C-072A-459C-8648-8D68BC93FAA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426315" y="745314"/>
            <a:ext cx="1341526" cy="311178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6B76E93-9883-F34D-AFCA-0B3B5698689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38973" y="3356068"/>
            <a:ext cx="5294312" cy="674687"/>
          </a:xfrm>
        </p:spPr>
        <p:txBody>
          <a:bodyPr/>
          <a:lstStyle>
            <a:lvl1pPr marL="0" indent="0">
              <a:lnSpc>
                <a:spcPct val="114000"/>
              </a:lnSpc>
              <a:buNone/>
              <a:defRPr sz="2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GB" err="1"/>
              <a:t>Subheadline</a:t>
            </a:r>
            <a:endParaRPr lang="en-BG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CE62990B-F803-5D9B-62E6-BC8BD007433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102087" y="2082677"/>
            <a:ext cx="4349237" cy="5003669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20F176AF-19D0-9F1E-9FBE-D899F0CCBDE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630705" y="1130306"/>
            <a:ext cx="4567382" cy="5249082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392A3BA3-5E9B-E1ED-64C7-CA631EFA8FF3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492243" y="1040729"/>
            <a:ext cx="4608283" cy="5303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8688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750"/>
                            </p:stCondLst>
                            <p:childTnLst>
                              <p:par>
                                <p:cTn id="11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250"/>
                            </p:stCondLst>
                            <p:childTnLst>
                              <p:par>
                                <p:cTn id="17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2287B1-B399-4ED6-9191-9832616F1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1322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2287B1-B399-4ED6-9191-9832616F1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7">
            <a:extLst>
              <a:ext uri="{FF2B5EF4-FFF2-40B4-BE49-F238E27FC236}">
                <a16:creationId xmlns:a16="http://schemas.microsoft.com/office/drawing/2014/main" id="{97D07DB7-7D51-724B-BE5C-77B45E5DBA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3" y="538163"/>
            <a:ext cx="10747374" cy="1139825"/>
          </a:xfrm>
          <a:prstGeom prst="rect">
            <a:avLst/>
          </a:prstGeom>
        </p:spPr>
        <p:txBody>
          <a:bodyPr vert="horz" lIns="0" tIns="10800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en-BG"/>
          </a:p>
        </p:txBody>
      </p:sp>
    </p:spTree>
    <p:extLst>
      <p:ext uri="{BB962C8B-B14F-4D97-AF65-F5344CB8AC3E}">
        <p14:creationId xmlns:p14="http://schemas.microsoft.com/office/powerpoint/2010/main" val="34110035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AF940FE-8CAB-BB3A-3E38-B86FD660382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5718873" y="3214896"/>
            <a:ext cx="6476628" cy="364310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069951F-ED4C-C940-B5BF-D5511A5CD9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2314" y="538163"/>
            <a:ext cx="7869894" cy="1139825"/>
          </a:xfrm>
        </p:spPr>
        <p:txBody>
          <a:bodyPr tIns="108000"/>
          <a:lstStyle/>
          <a:p>
            <a:r>
              <a:rPr lang="en-GB"/>
              <a:t>Simple Bullet List</a:t>
            </a:r>
            <a:endParaRPr lang="en-BG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CFE1C11C-18E9-2B2E-C6D2-D6980ACE5DE0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6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0" i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0" i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9202505-C4F2-045D-74CA-5F4E2B26BCE7}"/>
              </a:ext>
            </a:extLst>
          </p:cNvPr>
          <p:cNvSpPr txBox="1"/>
          <p:nvPr userDrawn="1"/>
        </p:nvSpPr>
        <p:spPr>
          <a:xfrm>
            <a:off x="4507424" y="6554396"/>
            <a:ext cx="3177152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600" b="0" spc="0" baseline="0">
                <a:solidFill>
                  <a:srgbClr val="7F7F7F"/>
                </a:solidFill>
                <a:latin typeface="Arial"/>
                <a:cs typeface="Arial"/>
              </a:rPr>
              <a:t>© </a:t>
            </a:r>
            <a:r>
              <a:rPr lang="en-US" sz="600">
                <a:solidFill>
                  <a:srgbClr val="7F7F7F"/>
                </a:solidFill>
                <a:latin typeface="Arial"/>
                <a:cs typeface="Arial"/>
              </a:rPr>
              <a:t>2024</a:t>
            </a:r>
            <a:r>
              <a:rPr lang="en-US" sz="600" b="0" spc="0" baseline="0">
                <a:solidFill>
                  <a:srgbClr val="7F7F7F"/>
                </a:solidFill>
                <a:latin typeface="Arial"/>
                <a:cs typeface="Arial"/>
              </a:rPr>
              <a:t> </a:t>
            </a:r>
            <a:r>
              <a:rPr lang="en-US" sz="600" b="0" i="0" spc="0" baseline="0">
                <a:solidFill>
                  <a:srgbClr val="7F7F7F"/>
                </a:solidFill>
                <a:latin typeface="Arial"/>
                <a:cs typeface="Arial"/>
              </a:rPr>
              <a:t>Progress</a:t>
            </a:r>
            <a:r>
              <a:rPr lang="en-US" sz="600" b="0" spc="0" baseline="0">
                <a:solidFill>
                  <a:srgbClr val="7F7F7F"/>
                </a:solidFill>
                <a:latin typeface="Arial"/>
                <a:cs typeface="Arial"/>
              </a:rPr>
              <a:t> Software Corporation and/or its subsidiaries or affiliates. All rights reserved.</a:t>
            </a:r>
          </a:p>
        </p:txBody>
      </p:sp>
      <p:pic>
        <p:nvPicPr>
          <p:cNvPr id="7" name="Picture 2">
            <a:hlinkClick r:id="rId3"/>
            <a:extLst>
              <a:ext uri="{FF2B5EF4-FFF2-40B4-BE49-F238E27FC236}">
                <a16:creationId xmlns:a16="http://schemas.microsoft.com/office/drawing/2014/main" id="{5E1C4C61-DE5F-D0DE-F7FE-9C3B4D7D021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494075" y="6453499"/>
            <a:ext cx="939600" cy="217948"/>
          </a:xfrm>
          <a:prstGeom prst="rect">
            <a:avLst/>
          </a:prstGeom>
        </p:spPr>
      </p:pic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C6CC5C6C-69CB-AE61-6504-5E2B36EAACC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2313" y="1863725"/>
            <a:ext cx="7869895" cy="4365625"/>
          </a:xfrm>
        </p:spPr>
        <p:txBody>
          <a:bodyPr/>
          <a:lstStyle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BG"/>
          </a:p>
        </p:txBody>
      </p:sp>
    </p:spTree>
    <p:extLst>
      <p:ext uri="{BB962C8B-B14F-4D97-AF65-F5344CB8AC3E}">
        <p14:creationId xmlns:p14="http://schemas.microsoft.com/office/powerpoint/2010/main" val="113674627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2D926C9-4396-92AF-3273-CF549EF21E4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1" y="7434"/>
            <a:ext cx="12191999" cy="6858000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2287B1-B399-4ED6-9191-9832616F1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69719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9" imgH="349" progId="TCLayout.ActiveDocument.1">
                  <p:embed/>
                </p:oleObj>
              </mc:Choice>
              <mc:Fallback>
                <p:oleObj name="think-cell Slide" r:id="rId4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2287B1-B399-4ED6-9191-9832616F1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7">
            <a:extLst>
              <a:ext uri="{FF2B5EF4-FFF2-40B4-BE49-F238E27FC236}">
                <a16:creationId xmlns:a16="http://schemas.microsoft.com/office/drawing/2014/main" id="{97D07DB7-7D51-724B-BE5C-77B45E5DBA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3" y="538163"/>
            <a:ext cx="10747374" cy="1139825"/>
          </a:xfrm>
          <a:prstGeom prst="rect">
            <a:avLst/>
          </a:prstGeom>
        </p:spPr>
        <p:txBody>
          <a:bodyPr vert="horz" lIns="0" tIns="10800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en-BG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3097676-D6A1-2D4B-BDD3-E7E914641366}"/>
              </a:ext>
            </a:extLst>
          </p:cNvPr>
          <p:cNvSpPr txBox="1"/>
          <p:nvPr userDrawn="1"/>
        </p:nvSpPr>
        <p:spPr>
          <a:xfrm>
            <a:off x="722313" y="1780674"/>
            <a:ext cx="10747374" cy="44490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en-BG" sz="240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8C9353E-244A-3B4E-B54E-FCA42C07336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2313" y="1863725"/>
            <a:ext cx="10747375" cy="4365625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BG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1C906B93-0B67-D520-248C-5443B567E368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6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0" i="0" dirty="0" smtClean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0" i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9B03E04-C70F-668B-90D3-1F93E7AD33A7}"/>
              </a:ext>
            </a:extLst>
          </p:cNvPr>
          <p:cNvSpPr txBox="1"/>
          <p:nvPr userDrawn="1"/>
        </p:nvSpPr>
        <p:spPr>
          <a:xfrm>
            <a:off x="4507424" y="6554396"/>
            <a:ext cx="3177152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600" b="0" spc="0" baseline="0">
                <a:solidFill>
                  <a:srgbClr val="7F7F7F"/>
                </a:solidFill>
                <a:latin typeface="Arial"/>
                <a:cs typeface="Arial"/>
              </a:rPr>
              <a:t>© </a:t>
            </a:r>
            <a:r>
              <a:rPr lang="en-US" sz="600">
                <a:solidFill>
                  <a:srgbClr val="7F7F7F"/>
                </a:solidFill>
                <a:latin typeface="Arial"/>
                <a:cs typeface="Arial"/>
              </a:rPr>
              <a:t>2024</a:t>
            </a:r>
            <a:r>
              <a:rPr lang="en-US" sz="600" b="0" spc="0" baseline="0">
                <a:solidFill>
                  <a:srgbClr val="7F7F7F"/>
                </a:solidFill>
                <a:latin typeface="Arial"/>
                <a:cs typeface="Arial"/>
              </a:rPr>
              <a:t> </a:t>
            </a:r>
            <a:r>
              <a:rPr lang="en-US" sz="600" b="0" i="0" spc="0" baseline="0">
                <a:solidFill>
                  <a:srgbClr val="7F7F7F"/>
                </a:solidFill>
                <a:latin typeface="Arial"/>
                <a:cs typeface="Arial"/>
              </a:rPr>
              <a:t>Progress</a:t>
            </a:r>
            <a:r>
              <a:rPr lang="en-US" sz="600" b="0" spc="0" baseline="0">
                <a:solidFill>
                  <a:srgbClr val="7F7F7F"/>
                </a:solidFill>
                <a:latin typeface="Arial"/>
                <a:cs typeface="Arial"/>
              </a:rPr>
              <a:t> Software Corporation and/or its subsidiaries or affiliates. All rights reserved.</a:t>
            </a:r>
          </a:p>
        </p:txBody>
      </p:sp>
      <p:pic>
        <p:nvPicPr>
          <p:cNvPr id="8" name="Picture 2">
            <a:hlinkClick r:id="rId6"/>
            <a:extLst>
              <a:ext uri="{FF2B5EF4-FFF2-40B4-BE49-F238E27FC236}">
                <a16:creationId xmlns:a16="http://schemas.microsoft.com/office/drawing/2014/main" id="{E7C3ABA5-60A2-419C-88B5-B52E35110A4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494075" y="6453499"/>
            <a:ext cx="939600" cy="217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82558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- no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Shape, background pattern&#10;&#10;Description automatically generated">
            <a:extLst>
              <a:ext uri="{FF2B5EF4-FFF2-40B4-BE49-F238E27FC236}">
                <a16:creationId xmlns:a16="http://schemas.microsoft.com/office/drawing/2014/main" id="{94E4CBA0-29F5-8CBA-1FC4-51765EFA5F1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80" y="8313"/>
            <a:ext cx="12189533" cy="6859388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2287B1-B399-4ED6-9191-9832616F1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26744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9" imgH="349" progId="TCLayout.ActiveDocument.1">
                  <p:embed/>
                </p:oleObj>
              </mc:Choice>
              <mc:Fallback>
                <p:oleObj name="think-cell Slide" r:id="rId4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2287B1-B399-4ED6-9191-9832616F1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7">
            <a:extLst>
              <a:ext uri="{FF2B5EF4-FFF2-40B4-BE49-F238E27FC236}">
                <a16:creationId xmlns:a16="http://schemas.microsoft.com/office/drawing/2014/main" id="{E8A4E56D-3AE5-7962-7465-578B476C3D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3" y="538163"/>
            <a:ext cx="7031036" cy="1139825"/>
          </a:xfrm>
          <a:prstGeom prst="rect">
            <a:avLst/>
          </a:prstGeom>
        </p:spPr>
        <p:txBody>
          <a:bodyPr vert="horz" lIns="0" tIns="10800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en-BG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F634A4-87E7-F1DE-6B21-CED0EFD60A53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6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0" i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0" i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0D60B39-C159-9FA0-727A-913C6331A138}"/>
              </a:ext>
            </a:extLst>
          </p:cNvPr>
          <p:cNvSpPr txBox="1"/>
          <p:nvPr userDrawn="1"/>
        </p:nvSpPr>
        <p:spPr>
          <a:xfrm>
            <a:off x="4024470" y="6554397"/>
            <a:ext cx="3177152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600" b="0" spc="0" baseline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4 </a:t>
            </a:r>
            <a:r>
              <a:rPr lang="en-US" sz="600" b="0" i="0" spc="0" baseline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r>
              <a:rPr lang="en-US" sz="600" b="0" spc="0" baseline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ftware Corporation and/or its subsidiaries or affiliates. All rights reserved.</a:t>
            </a:r>
          </a:p>
        </p:txBody>
      </p:sp>
      <p:pic>
        <p:nvPicPr>
          <p:cNvPr id="8" name="Picture 2">
            <a:hlinkClick r:id="rId6"/>
            <a:extLst>
              <a:ext uri="{FF2B5EF4-FFF2-40B4-BE49-F238E27FC236}">
                <a16:creationId xmlns:a16="http://schemas.microsoft.com/office/drawing/2014/main" id="{FFD1F83E-1738-F350-CDC8-88B36B6351D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494075" y="6453499"/>
            <a:ext cx="939600" cy="217948"/>
          </a:xfrm>
          <a:prstGeom prst="rect">
            <a:avLst/>
          </a:prstGeom>
        </p:spPr>
      </p:pic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F2CE5BB6-4E8C-6747-39D0-BD72F525BD8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2313" y="1863725"/>
            <a:ext cx="7869895" cy="4365625"/>
          </a:xfrm>
        </p:spPr>
        <p:txBody>
          <a:bodyPr/>
          <a:lstStyle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BG"/>
          </a:p>
        </p:txBody>
      </p:sp>
    </p:spTree>
    <p:extLst>
      <p:ext uri="{BB962C8B-B14F-4D97-AF65-F5344CB8AC3E}">
        <p14:creationId xmlns:p14="http://schemas.microsoft.com/office/powerpoint/2010/main" val="15098376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197306C-DFA1-869B-47F1-E95A7B90F8B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5718873" y="3222330"/>
            <a:ext cx="6476628" cy="3643104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2287B1-B399-4ED6-9191-9832616F1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1322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9" imgH="349" progId="TCLayout.ActiveDocument.1">
                  <p:embed/>
                </p:oleObj>
              </mc:Choice>
              <mc:Fallback>
                <p:oleObj name="think-cell Slide" r:id="rId4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2287B1-B399-4ED6-9191-9832616F1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7">
            <a:extLst>
              <a:ext uri="{FF2B5EF4-FFF2-40B4-BE49-F238E27FC236}">
                <a16:creationId xmlns:a16="http://schemas.microsoft.com/office/drawing/2014/main" id="{97D07DB7-7D51-724B-BE5C-77B45E5DBA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3309" y="538163"/>
            <a:ext cx="8106377" cy="1139825"/>
          </a:xfrm>
          <a:prstGeom prst="rect">
            <a:avLst/>
          </a:prstGeom>
        </p:spPr>
        <p:txBody>
          <a:bodyPr vert="horz" lIns="0" tIns="10800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en-BG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D5627746-B38D-97E9-850E-555A4176B5DB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6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0" i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0" i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2">
            <a:hlinkClick r:id="rId6"/>
            <a:extLst>
              <a:ext uri="{FF2B5EF4-FFF2-40B4-BE49-F238E27FC236}">
                <a16:creationId xmlns:a16="http://schemas.microsoft.com/office/drawing/2014/main" id="{4BB347AD-D128-4D84-46CF-37C37662B1C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494075" y="6453499"/>
            <a:ext cx="939600" cy="21794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EE63AA0A-B306-65ED-E3C1-8084A7F8B454}"/>
              </a:ext>
            </a:extLst>
          </p:cNvPr>
          <p:cNvSpPr txBox="1"/>
          <p:nvPr userDrawn="1"/>
        </p:nvSpPr>
        <p:spPr>
          <a:xfrm>
            <a:off x="4507424" y="6554396"/>
            <a:ext cx="3177152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600" b="0" spc="0" baseline="0">
                <a:solidFill>
                  <a:srgbClr val="7F7F7F"/>
                </a:solidFill>
                <a:latin typeface="Arial"/>
                <a:cs typeface="Arial"/>
              </a:rPr>
              <a:t>© </a:t>
            </a:r>
            <a:r>
              <a:rPr lang="en-US" sz="600">
                <a:solidFill>
                  <a:srgbClr val="7F7F7F"/>
                </a:solidFill>
                <a:latin typeface="Arial"/>
                <a:cs typeface="Arial"/>
              </a:rPr>
              <a:t>2024</a:t>
            </a:r>
            <a:r>
              <a:rPr lang="en-US" sz="600" b="0" spc="0" baseline="0">
                <a:solidFill>
                  <a:srgbClr val="7F7F7F"/>
                </a:solidFill>
                <a:latin typeface="Arial"/>
                <a:cs typeface="Arial"/>
              </a:rPr>
              <a:t> </a:t>
            </a:r>
            <a:r>
              <a:rPr lang="en-US" sz="600" b="0" i="0" spc="0" baseline="0">
                <a:solidFill>
                  <a:srgbClr val="7F7F7F"/>
                </a:solidFill>
                <a:latin typeface="Arial"/>
                <a:cs typeface="Arial"/>
              </a:rPr>
              <a:t>Progress</a:t>
            </a:r>
            <a:r>
              <a:rPr lang="en-US" sz="600" b="0" spc="0" baseline="0">
                <a:solidFill>
                  <a:srgbClr val="7F7F7F"/>
                </a:solidFill>
                <a:latin typeface="Arial"/>
                <a:cs typeface="Arial"/>
              </a:rPr>
              <a:t> Software Corporation and/or its subsidiaries or affiliates. All rights reserved.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BC1D4EB1-7C2A-BD4C-8F7A-E96B43158FE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63309" y="1863725"/>
            <a:ext cx="8106379" cy="4365625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BG"/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54C64D19-1AF7-2E9D-2E64-6EB2F1BA6D6A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15" y="0"/>
            <a:ext cx="2757325" cy="61170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13895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485F10A-E66C-4489-AA0B-94914B2089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620581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485F10A-E66C-4489-AA0B-94914B2089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7">
            <a:extLst>
              <a:ext uri="{FF2B5EF4-FFF2-40B4-BE49-F238E27FC236}">
                <a16:creationId xmlns:a16="http://schemas.microsoft.com/office/drawing/2014/main" id="{6C447A6B-E87C-9A42-8E46-8CE8E1730B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3" y="538164"/>
            <a:ext cx="6861651" cy="1130526"/>
          </a:xfrm>
          <a:prstGeom prst="rect">
            <a:avLst/>
          </a:prstGeom>
        </p:spPr>
        <p:txBody>
          <a:bodyPr vert="horz" lIns="0" tIns="10800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en-BG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0D159B53-8600-873A-F790-FDA958551469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6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0" i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0" i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96A0A0B8-24FC-803B-5D55-A458832A27E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536655" y="0"/>
            <a:ext cx="3653090" cy="6858000"/>
          </a:xfrm>
          <a:prstGeom prst="rect">
            <a:avLst/>
          </a:prstGeom>
        </p:spPr>
      </p:pic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66EA565F-28DA-869B-8AA6-617FEE13790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22313" y="1863725"/>
            <a:ext cx="6859587" cy="4365625"/>
          </a:xfrm>
        </p:spPr>
        <p:txBody>
          <a:bodyPr/>
          <a:lstStyle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BG"/>
          </a:p>
        </p:txBody>
      </p:sp>
    </p:spTree>
    <p:extLst>
      <p:ext uri="{BB962C8B-B14F-4D97-AF65-F5344CB8AC3E}">
        <p14:creationId xmlns:p14="http://schemas.microsoft.com/office/powerpoint/2010/main" val="2434509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485F10A-E66C-4489-AA0B-94914B2089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620581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485F10A-E66C-4489-AA0B-94914B2089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7">
            <a:extLst>
              <a:ext uri="{FF2B5EF4-FFF2-40B4-BE49-F238E27FC236}">
                <a16:creationId xmlns:a16="http://schemas.microsoft.com/office/drawing/2014/main" id="{6C447A6B-E87C-9A42-8E46-8CE8E1730B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3" y="538164"/>
            <a:ext cx="6766507" cy="1130526"/>
          </a:xfrm>
          <a:prstGeom prst="rect">
            <a:avLst/>
          </a:prstGeom>
        </p:spPr>
        <p:txBody>
          <a:bodyPr vert="horz" lIns="0" tIns="10800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en-BG"/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7D3E73D0-9FBE-71EC-AE4A-1C4A9AFB3AE3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6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0" i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0" i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0F40EB90-92BB-4342-A8D9-FD570C9801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535476" y="0"/>
            <a:ext cx="3658165" cy="6858000"/>
          </a:xfrm>
          <a:prstGeom prst="rect">
            <a:avLst/>
          </a:prstGeom>
        </p:spPr>
      </p:pic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9868DACA-82D3-785E-22EB-028DD7DFCE2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22313" y="1863725"/>
            <a:ext cx="6859587" cy="4365625"/>
          </a:xfrm>
        </p:spPr>
        <p:txBody>
          <a:bodyPr/>
          <a:lstStyle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BG"/>
          </a:p>
        </p:txBody>
      </p:sp>
    </p:spTree>
    <p:extLst>
      <p:ext uri="{BB962C8B-B14F-4D97-AF65-F5344CB8AC3E}">
        <p14:creationId xmlns:p14="http://schemas.microsoft.com/office/powerpoint/2010/main" val="304711695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g Cloud Slide">
    <p:bg>
      <p:bgPr>
        <a:solidFill>
          <a:srgbClr val="4A41F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Graphic 15">
            <a:extLst>
              <a:ext uri="{FF2B5EF4-FFF2-40B4-BE49-F238E27FC236}">
                <a16:creationId xmlns:a16="http://schemas.microsoft.com/office/drawing/2014/main" id="{3E82239A-1D95-E888-94E7-192C645D81E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9" b="69"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2287B1-B399-4ED6-9191-9832616F1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69719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9" imgH="349" progId="TCLayout.ActiveDocument.1">
                  <p:embed/>
                </p:oleObj>
              </mc:Choice>
              <mc:Fallback>
                <p:oleObj name="think-cell Slide" r:id="rId4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2287B1-B399-4ED6-9191-9832616F1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59F03F98-CED0-0CDD-E747-E3400399AC43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6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1" smtClean="0">
                <a:solidFill>
                  <a:schemeClr val="bg1">
                    <a:alpha val="69766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1">
              <a:solidFill>
                <a:schemeClr val="bg1">
                  <a:alpha val="69766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B3B2061-15B4-FCC4-55A0-0C65218A2237}"/>
              </a:ext>
            </a:extLst>
          </p:cNvPr>
          <p:cNvSpPr txBox="1"/>
          <p:nvPr userDrawn="1"/>
        </p:nvSpPr>
        <p:spPr>
          <a:xfrm>
            <a:off x="4507424" y="6554397"/>
            <a:ext cx="3177152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600" b="0" spc="0" baseline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3 </a:t>
            </a:r>
            <a:r>
              <a:rPr lang="en-US" sz="600" b="0" i="0" spc="0" baseline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r>
              <a:rPr lang="en-US" sz="600" b="0" spc="0" baseline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ftware Corporation and/or its subsidiaries or affiliates. All rights reserved.</a:t>
            </a:r>
          </a:p>
        </p:txBody>
      </p:sp>
      <p:pic>
        <p:nvPicPr>
          <p:cNvPr id="14" name="Picture 3">
            <a:extLst>
              <a:ext uri="{FF2B5EF4-FFF2-40B4-BE49-F238E27FC236}">
                <a16:creationId xmlns:a16="http://schemas.microsoft.com/office/drawing/2014/main" id="{193623FD-4152-62AB-65C8-94A597A272B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494075" y="6445423"/>
            <a:ext cx="939600" cy="217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46172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2287B1-B399-4ED6-9191-9832616F1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3561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2287B1-B399-4ED6-9191-9832616F1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>
            <a:extLst>
              <a:ext uri="{FF2B5EF4-FFF2-40B4-BE49-F238E27FC236}">
                <a16:creationId xmlns:a16="http://schemas.microsoft.com/office/drawing/2014/main" id="{A1E54A24-0A79-4645-95BB-872276B99F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3600" y="538163"/>
            <a:ext cx="10746088" cy="1139825"/>
          </a:xfrm>
        </p:spPr>
        <p:txBody>
          <a:bodyPr vert="horz"/>
          <a:lstStyle/>
          <a:p>
            <a:r>
              <a:rPr lang="en-GB"/>
              <a:t>Click to edit Master title style</a:t>
            </a:r>
            <a:br>
              <a:rPr lang="en-GB"/>
            </a:br>
            <a:r>
              <a:rPr lang="en-GB"/>
              <a:t>Two Column Style</a:t>
            </a:r>
            <a:endParaRPr lang="en-US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54A7AE83-B9C1-1D4E-9469-01C3D28EF60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192838" y="1863725"/>
            <a:ext cx="5276850" cy="443865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BG"/>
          </a:p>
        </p:txBody>
      </p:sp>
      <p:sp>
        <p:nvSpPr>
          <p:cNvPr id="2" name="Text Placeholder 5">
            <a:extLst>
              <a:ext uri="{FF2B5EF4-FFF2-40B4-BE49-F238E27FC236}">
                <a16:creationId xmlns:a16="http://schemas.microsoft.com/office/drawing/2014/main" id="{950440E8-0E6A-8A19-C566-EBCEFBCF742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22313" y="1863725"/>
            <a:ext cx="5373687" cy="4365625"/>
          </a:xfrm>
        </p:spPr>
        <p:txBody>
          <a:bodyPr/>
          <a:lstStyle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BG"/>
          </a:p>
        </p:txBody>
      </p:sp>
    </p:spTree>
    <p:extLst>
      <p:ext uri="{BB962C8B-B14F-4D97-AF65-F5344CB8AC3E}">
        <p14:creationId xmlns:p14="http://schemas.microsoft.com/office/powerpoint/2010/main" val="97196392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2287B1-B399-4ED6-9191-9832616F1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13829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2287B1-B399-4ED6-9191-9832616F1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3B4A0B0-544B-4680-B496-7634409EEF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3600" y="538163"/>
            <a:ext cx="10746088" cy="1139825"/>
          </a:xfrm>
        </p:spPr>
        <p:txBody>
          <a:bodyPr vert="horz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1124C9F4-9F1E-5D4F-8CC2-BAA0F34CFB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2311" y="1851949"/>
            <a:ext cx="3459164" cy="4450425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BG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B28A142A-B0F7-C544-B3CD-9A6546563D7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58709" y="1851949"/>
            <a:ext cx="3459164" cy="4450425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BG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F8E67F24-9CF1-9547-BD5E-84589B31B4E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010527" y="1851949"/>
            <a:ext cx="3459161" cy="4450425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BG"/>
          </a:p>
        </p:txBody>
      </p:sp>
    </p:spTree>
    <p:extLst>
      <p:ext uri="{BB962C8B-B14F-4D97-AF65-F5344CB8AC3E}">
        <p14:creationId xmlns:p14="http://schemas.microsoft.com/office/powerpoint/2010/main" val="13465839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Green No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485F10A-E66C-4489-AA0B-94914B2089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41145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485F10A-E66C-4489-AA0B-94914B2089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2">
            <a:extLst>
              <a:ext uri="{FF2B5EF4-FFF2-40B4-BE49-F238E27FC236}">
                <a16:creationId xmlns:a16="http://schemas.microsoft.com/office/drawing/2014/main" id="{77BE795C-072A-459C-8648-8D68BC93FAA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426315" y="745314"/>
            <a:ext cx="1341526" cy="311178"/>
          </a:xfrm>
          <a:prstGeom prst="rect">
            <a:avLst/>
          </a:prstGeom>
        </p:spPr>
      </p:pic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89036C18-8578-F994-7F32-E082097339E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38973" y="4846683"/>
            <a:ext cx="5278437" cy="388554"/>
          </a:xfrm>
        </p:spPr>
        <p:txBody>
          <a:bodyPr tIns="36000" anchor="ctr" anchorCtr="0">
            <a:noAutofit/>
          </a:bodyPr>
          <a:lstStyle>
            <a:lvl1pPr marL="0" indent="0" algn="l">
              <a:lnSpc>
                <a:spcPct val="90000"/>
              </a:lnSpc>
              <a:buNone/>
              <a:defRPr sz="2400" b="1" i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DF9BCBC6-C555-49A7-B6CC-40448EBEA66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38973" y="5312130"/>
            <a:ext cx="5278437" cy="312131"/>
          </a:xfrm>
        </p:spPr>
        <p:txBody>
          <a:bodyPr tIns="72000" anchor="ctr" anchorCtr="0">
            <a:noAutofit/>
          </a:bodyPr>
          <a:lstStyle>
            <a:lvl1pPr marL="0" indent="0" algn="l">
              <a:lnSpc>
                <a:spcPct val="90000"/>
              </a:lnSpc>
              <a:buNone/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peaker Title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CB18D21E-5600-A11C-8926-6903DA6D7A0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38973" y="5771692"/>
            <a:ext cx="5278437" cy="312131"/>
          </a:xfrm>
        </p:spPr>
        <p:txBody>
          <a:bodyPr tIns="72000" anchor="ctr" anchorCtr="0">
            <a:noAutofit/>
          </a:bodyPr>
          <a:lstStyle>
            <a:lvl1pPr marL="0" indent="0" algn="l">
              <a:lnSpc>
                <a:spcPts val="1800"/>
              </a:lnSpc>
              <a:buNone/>
              <a:defRPr sz="1800" b="0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CA34B93B-695C-5230-AAC8-AB453BA1CA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8973" y="1594770"/>
            <a:ext cx="5261778" cy="1199693"/>
          </a:xfrm>
          <a:prstGeom prst="rect">
            <a:avLst/>
          </a:prstGeom>
        </p:spPr>
        <p:txBody>
          <a:bodyPr lIns="0" tIns="108000" rIns="0" bIns="0" anchor="t" anchorCtr="0">
            <a:noAutofit/>
          </a:bodyPr>
          <a:lstStyle>
            <a:lvl1pPr>
              <a:lnSpc>
                <a:spcPct val="85000"/>
              </a:lnSpc>
              <a:defRPr sz="4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BG"/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4C796F52-2E5C-0F10-CF67-3ABA3132B52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38973" y="3356068"/>
            <a:ext cx="5294312" cy="674687"/>
          </a:xfrm>
        </p:spPr>
        <p:txBody>
          <a:bodyPr/>
          <a:lstStyle>
            <a:lvl1pPr marL="0" indent="0">
              <a:lnSpc>
                <a:spcPct val="114000"/>
              </a:lnSpc>
              <a:buNone/>
              <a:defRPr sz="2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GB" err="1"/>
              <a:t>Subheadline</a:t>
            </a:r>
            <a:endParaRPr lang="en-BG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C1F6A93-FBEC-F6A4-124A-D2BD78FAB0B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170"/>
          <a:stretch/>
        </p:blipFill>
        <p:spPr>
          <a:xfrm>
            <a:off x="6807200" y="-80211"/>
            <a:ext cx="5384800" cy="69350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96935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2287B1-B399-4ED6-9191-9832616F1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982930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2287B1-B399-4ED6-9191-9832616F1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3B29C63-2AD6-4DE5-B0A2-CB6E5C4AD9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3600" y="538163"/>
            <a:ext cx="10746088" cy="1139825"/>
          </a:xfrm>
        </p:spPr>
        <p:txBody>
          <a:bodyPr vert="horz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D7A8F6A1-E4E4-4646-933F-3032F97511D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22313" y="1857737"/>
            <a:ext cx="2528887" cy="4444638"/>
          </a:xfrm>
        </p:spPr>
        <p:txBody>
          <a:bodyPr/>
          <a:lstStyle>
            <a:lvl1pPr marL="0" indent="0">
              <a:lnSpc>
                <a:spcPct val="90000"/>
              </a:lnSpc>
              <a:buFont typeface="Arial" panose="020B0604020202020204" pitchFamily="34" charset="0"/>
              <a:buNone/>
              <a:defRPr/>
            </a:lvl1pPr>
            <a:lvl2pPr marL="225425" indent="0">
              <a:buNone/>
              <a:defRPr/>
            </a:lvl2pPr>
            <a:lvl3pPr marL="447675" indent="0">
              <a:buNone/>
              <a:defRPr/>
            </a:lvl3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A3A8B205-3828-1A4D-9D4B-309BF2F3FFF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446660" y="1857737"/>
            <a:ext cx="2554090" cy="4444638"/>
          </a:xfrm>
        </p:spPr>
        <p:txBody>
          <a:bodyPr/>
          <a:lstStyle>
            <a:lvl1pPr marL="0" indent="0">
              <a:lnSpc>
                <a:spcPct val="90000"/>
              </a:lnSpc>
              <a:buFont typeface="Arial" panose="020B0604020202020204" pitchFamily="34" charset="0"/>
              <a:buNone/>
              <a:defRPr/>
            </a:lvl1pPr>
            <a:lvl2pPr marL="225425" indent="0">
              <a:buNone/>
              <a:defRPr/>
            </a:lvl2pPr>
            <a:lvl3pPr marL="447675" indent="0">
              <a:buNone/>
              <a:defRPr/>
            </a:lvl3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B4C483FE-70FF-7041-9119-FDE32D70CAC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71006" y="1857737"/>
            <a:ext cx="2554090" cy="4444638"/>
          </a:xfrm>
        </p:spPr>
        <p:txBody>
          <a:bodyPr/>
          <a:lstStyle>
            <a:lvl1pPr marL="0" indent="0">
              <a:lnSpc>
                <a:spcPct val="90000"/>
              </a:lnSpc>
              <a:buFont typeface="Arial" panose="020B0604020202020204" pitchFamily="34" charset="0"/>
              <a:buNone/>
              <a:defRPr/>
            </a:lvl1pPr>
            <a:lvl2pPr marL="225425" indent="0">
              <a:buNone/>
              <a:defRPr/>
            </a:lvl2pPr>
            <a:lvl3pPr marL="447675" indent="0">
              <a:buNone/>
              <a:defRPr/>
            </a:lvl3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F6086923-DD39-8546-9401-95099CDCAA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23633" y="1857737"/>
            <a:ext cx="2554090" cy="4444638"/>
          </a:xfrm>
        </p:spPr>
        <p:txBody>
          <a:bodyPr/>
          <a:lstStyle>
            <a:lvl1pPr marL="0" indent="0">
              <a:lnSpc>
                <a:spcPct val="90000"/>
              </a:lnSpc>
              <a:buFont typeface="Arial" panose="020B0604020202020204" pitchFamily="34" charset="0"/>
              <a:buNone/>
              <a:defRPr/>
            </a:lvl1pPr>
            <a:lvl2pPr marL="225425" indent="0">
              <a:buNone/>
              <a:defRPr/>
            </a:lvl2pPr>
            <a:lvl3pPr marL="447675" indent="0">
              <a:buNone/>
              <a:defRPr/>
            </a:lvl3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4683824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69951F-ED4C-C940-B5BF-D5511A5CD9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3" y="538163"/>
            <a:ext cx="8010525" cy="909637"/>
          </a:xfrm>
        </p:spPr>
        <p:txBody>
          <a:bodyPr tIns="10800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BG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5F93B13-79C7-D043-BA6B-61F781D9B5F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2313" y="1677988"/>
            <a:ext cx="5278437" cy="455611"/>
          </a:xfrm>
        </p:spPr>
        <p:txBody>
          <a:bodyPr/>
          <a:lstStyle>
            <a:lvl1pPr marL="0" indent="0">
              <a:buNone/>
              <a:defRPr b="1" i="0" spc="-1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Topic 1</a:t>
            </a:r>
            <a:endParaRPr lang="en-BG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CC55D09-8538-334E-A1E1-71B22D8027B5}"/>
              </a:ext>
            </a:extLst>
          </p:cNvPr>
          <p:cNvSpPr txBox="1"/>
          <p:nvPr userDrawn="1"/>
        </p:nvSpPr>
        <p:spPr>
          <a:xfrm>
            <a:off x="2151529" y="1882588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en-BG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B67CE013-E7C8-B849-A3FC-A0574A8A9A3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97283" y="1677988"/>
            <a:ext cx="5278437" cy="455611"/>
          </a:xfrm>
        </p:spPr>
        <p:txBody>
          <a:bodyPr/>
          <a:lstStyle>
            <a:lvl1pPr marL="0" indent="0">
              <a:buNone/>
              <a:defRPr b="1" i="0" spc="-1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Topic 2</a:t>
            </a:r>
            <a:endParaRPr lang="en-BG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D148B8A9-EDCF-FE41-AFC9-FAEC5D5C7BB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23900" y="2362200"/>
            <a:ext cx="5276850" cy="38750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BG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EB97B37-7995-DB4F-ACD9-6F4ED7D8061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82020" y="2362200"/>
            <a:ext cx="5276850" cy="38750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BG"/>
          </a:p>
        </p:txBody>
      </p:sp>
    </p:spTree>
    <p:extLst>
      <p:ext uri="{BB962C8B-B14F-4D97-AF65-F5344CB8AC3E}">
        <p14:creationId xmlns:p14="http://schemas.microsoft.com/office/powerpoint/2010/main" val="27919454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69951F-ED4C-C940-B5BF-D5511A5CD9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3" y="538163"/>
            <a:ext cx="7102475" cy="909637"/>
          </a:xfrm>
        </p:spPr>
        <p:txBody>
          <a:bodyPr tIns="10800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BG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14E6BE96-7B0A-F94A-B96E-1C7E0D03F31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2313" y="2226366"/>
            <a:ext cx="3459162" cy="4010922"/>
          </a:xfrm>
        </p:spPr>
        <p:txBody>
          <a:bodyPr tIns="36000"/>
          <a:lstStyle>
            <a:lvl1pPr marL="0" indent="0">
              <a:lnSpc>
                <a:spcPct val="120000"/>
              </a:lnSpc>
              <a:buNone/>
              <a:defRPr sz="2000" b="0" i="0" spc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ontrary to popular belief, Lorem Ipsum is not simply random text. It has roots in a piece of classical Latin literature from 45 BC, making it over 2000 years old.</a:t>
            </a:r>
            <a:endParaRPr lang="en-BG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9F9D9998-0CE0-0441-A69C-96949640553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9275" y="2226366"/>
            <a:ext cx="3467099" cy="4010922"/>
          </a:xfrm>
        </p:spPr>
        <p:txBody>
          <a:bodyPr tIns="36000"/>
          <a:lstStyle>
            <a:lvl1pPr marL="0" indent="0">
              <a:lnSpc>
                <a:spcPct val="120000"/>
              </a:lnSpc>
              <a:buNone/>
              <a:defRPr sz="2000" b="0" i="0" spc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ontrary to popular belief, Lorem Ipsum is not simply random text. It has roots in a piece of classical Latin literature from 45 BC, making it over 2000 years old</a:t>
            </a:r>
            <a:endParaRPr lang="en-BG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4C25D13-53AB-804E-8F48-9FEEE4C8F85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002588" y="2226366"/>
            <a:ext cx="3467099" cy="4010922"/>
          </a:xfrm>
        </p:spPr>
        <p:txBody>
          <a:bodyPr tIns="36000"/>
          <a:lstStyle>
            <a:lvl1pPr marL="0" indent="0">
              <a:lnSpc>
                <a:spcPct val="120000"/>
              </a:lnSpc>
              <a:buNone/>
              <a:defRPr sz="2000" b="0" i="0" spc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ontrary to popular belief, Lorem Ipsum is not simply random text. It has roots in a piece of classical Latin literature from 45 BC, making it over 2000 years old.</a:t>
            </a:r>
            <a:endParaRPr lang="en-BG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726DDAF-094D-974B-82E0-4E14EC03BAE4}"/>
              </a:ext>
            </a:extLst>
          </p:cNvPr>
          <p:cNvSpPr txBox="1"/>
          <p:nvPr userDrawn="1"/>
        </p:nvSpPr>
        <p:spPr>
          <a:xfrm>
            <a:off x="2624866" y="1947134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en-BG" sz="2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291E0E34-AD4F-0F47-AF74-1B26AAD2B2F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2313" y="1568658"/>
            <a:ext cx="7102475" cy="474150"/>
          </a:xfrm>
        </p:spPr>
        <p:txBody>
          <a:bodyPr/>
          <a:lstStyle>
            <a:lvl1pPr marL="0" indent="0">
              <a:buNone/>
              <a:defRPr b="0" i="0" spc="0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err="1"/>
              <a:t>Subheadline</a:t>
            </a:r>
            <a:endParaRPr lang="en-BG"/>
          </a:p>
        </p:txBody>
      </p:sp>
    </p:spTree>
    <p:extLst>
      <p:ext uri="{BB962C8B-B14F-4D97-AF65-F5344CB8AC3E}">
        <p14:creationId xmlns:p14="http://schemas.microsoft.com/office/powerpoint/2010/main" val="413731295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2287B1-B399-4ED6-9191-9832616F1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87264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2287B1-B399-4ED6-9191-9832616F1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348BA764-5690-C74C-98C8-5AD362BFC8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3" y="538163"/>
            <a:ext cx="5278437" cy="1139825"/>
          </a:xfrm>
        </p:spPr>
        <p:txBody>
          <a:bodyPr tIns="10800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BG"/>
          </a:p>
        </p:txBody>
      </p:sp>
      <p:sp>
        <p:nvSpPr>
          <p:cNvPr id="13" name="Picture Placeholder 13">
            <a:extLst>
              <a:ext uri="{FF2B5EF4-FFF2-40B4-BE49-F238E27FC236}">
                <a16:creationId xmlns:a16="http://schemas.microsoft.com/office/drawing/2014/main" id="{D214D3DB-DB34-F441-B966-C041056B089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198748" y="0"/>
            <a:ext cx="5993252" cy="6858000"/>
          </a:xfrm>
          <a:solidFill>
            <a:schemeClr val="bg2"/>
          </a:solidFill>
        </p:spPr>
        <p:txBody>
          <a:bodyPr vert="horz" lIns="91440" tIns="72000" rIns="91440" bIns="756000" rtlCol="0" anchor="ctr">
            <a:noAutofit/>
          </a:bodyPr>
          <a:lstStyle>
            <a:lvl1pPr marL="0" indent="0">
              <a:buNone/>
              <a:defRPr lang="en-US" sz="18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algn="ctr"/>
            <a:r>
              <a:rPr lang="en-GB"/>
              <a:t>Click icon to add picture</a:t>
            </a:r>
            <a:endParaRPr lang="en-US"/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5B3F9C52-3A71-4524-8B14-37E73BA412E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494075" y="6453499"/>
            <a:ext cx="939600" cy="217948"/>
          </a:xfrm>
          <a:prstGeom prst="rect">
            <a:avLst/>
          </a:prstGeom>
        </p:spPr>
      </p:pic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798BE631-707E-324E-A381-F3D99D052E2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22313" y="1808922"/>
            <a:ext cx="5278437" cy="442836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8CB971A-E2FD-954D-BF76-66E98685F3A4}"/>
              </a:ext>
            </a:extLst>
          </p:cNvPr>
          <p:cNvSpPr txBox="1"/>
          <p:nvPr userDrawn="1"/>
        </p:nvSpPr>
        <p:spPr>
          <a:xfrm>
            <a:off x="2833124" y="6554397"/>
            <a:ext cx="3177152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600" b="0" spc="0" baseline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4 </a:t>
            </a:r>
            <a:r>
              <a:rPr lang="en-US" sz="600" b="0" i="0" spc="0" baseline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r>
              <a:rPr lang="en-US" sz="600" b="0" spc="0" baseline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ftware Corporation and/or its subsidiaries or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04846299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Slid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2287B1-B399-4ED6-9191-9832616F1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0044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2287B1-B399-4ED6-9191-9832616F1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348BA764-5690-C74C-98C8-5AD362BFC8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91252" y="538163"/>
            <a:ext cx="5278437" cy="1139825"/>
          </a:xfrm>
        </p:spPr>
        <p:txBody>
          <a:bodyPr tIns="10800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BG"/>
          </a:p>
        </p:txBody>
      </p:sp>
      <p:sp>
        <p:nvSpPr>
          <p:cNvPr id="13" name="Picture Placeholder 13">
            <a:extLst>
              <a:ext uri="{FF2B5EF4-FFF2-40B4-BE49-F238E27FC236}">
                <a16:creationId xmlns:a16="http://schemas.microsoft.com/office/drawing/2014/main" id="{D214D3DB-DB34-F441-B966-C041056B089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978085" cy="6858000"/>
          </a:xfrm>
          <a:solidFill>
            <a:schemeClr val="bg2"/>
          </a:solidFill>
        </p:spPr>
        <p:txBody>
          <a:bodyPr vert="horz" lIns="91440" tIns="72000" rIns="91440" bIns="756000" rtlCol="0" anchor="ctr">
            <a:noAutofit/>
          </a:bodyPr>
          <a:lstStyle>
            <a:lvl1pPr marL="0" indent="0">
              <a:buNone/>
              <a:defRPr lang="en-US" sz="18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algn="ctr"/>
            <a:r>
              <a:rPr lang="en-GB"/>
              <a:t>Click icon to add picture</a:t>
            </a:r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CCB16D7C-13E7-8F44-B567-E0CB454B81BD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6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0" i="0" smtClean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0" i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6D956066-0822-7C4E-B1F5-A5FF044796A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88767" y="1808922"/>
            <a:ext cx="5278437" cy="442836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48103B8-912B-6840-91F6-51424D8F16B3}"/>
              </a:ext>
            </a:extLst>
          </p:cNvPr>
          <p:cNvSpPr txBox="1"/>
          <p:nvPr userDrawn="1"/>
        </p:nvSpPr>
        <p:spPr>
          <a:xfrm>
            <a:off x="6178550" y="6554397"/>
            <a:ext cx="3177152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600" b="0" spc="0" baseline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4 </a:t>
            </a:r>
            <a:r>
              <a:rPr lang="en-US" sz="600" b="0" i="0" spc="0" baseline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r>
              <a:rPr lang="en-US" sz="600" b="0" spc="0" baseline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ftware Corporation and/or its subsidiaries or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24043554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phic 14">
            <a:extLst>
              <a:ext uri="{FF2B5EF4-FFF2-40B4-BE49-F238E27FC236}">
                <a16:creationId xmlns:a16="http://schemas.microsoft.com/office/drawing/2014/main" id="{948DD2CE-C5C0-B638-578D-4AFEC1F6D90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" r="-21966"/>
          <a:stretch/>
        </p:blipFill>
        <p:spPr>
          <a:xfrm>
            <a:off x="-1" y="-4"/>
            <a:ext cx="5741581" cy="6858001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2287B1-B399-4ED6-9191-9832616F1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13932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9" imgH="349" progId="TCLayout.ActiveDocument.1">
                  <p:embed/>
                </p:oleObj>
              </mc:Choice>
              <mc:Fallback>
                <p:oleObj name="think-cell Slide" r:id="rId4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2287B1-B399-4ED6-9191-9832616F1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aphic 10">
            <a:extLst>
              <a:ext uri="{FF2B5EF4-FFF2-40B4-BE49-F238E27FC236}">
                <a16:creationId xmlns:a16="http://schemas.microsoft.com/office/drawing/2014/main" id="{3A6E4564-0AFD-394C-86C5-9468022082D4}"/>
              </a:ext>
            </a:extLst>
          </p:cNvPr>
          <p:cNvGrpSpPr/>
          <p:nvPr userDrawn="1"/>
        </p:nvGrpSpPr>
        <p:grpSpPr>
          <a:xfrm>
            <a:off x="5173278" y="538163"/>
            <a:ext cx="2554288" cy="1464044"/>
            <a:chOff x="7355176" y="1247511"/>
            <a:chExt cx="2101340" cy="1204427"/>
          </a:xfrm>
          <a:solidFill>
            <a:srgbClr val="008963"/>
          </a:solidFill>
        </p:grpSpPr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4E94DD7A-9189-4548-B3D7-D71AED474814}"/>
                </a:ext>
              </a:extLst>
            </p:cNvPr>
            <p:cNvSpPr/>
            <p:nvPr/>
          </p:nvSpPr>
          <p:spPr>
            <a:xfrm>
              <a:off x="7352293" y="1247383"/>
              <a:ext cx="999261" cy="1205383"/>
            </a:xfrm>
            <a:custGeom>
              <a:avLst/>
              <a:gdLst>
                <a:gd name="connsiteX0" fmla="*/ 501072 w 999261"/>
                <a:gd name="connsiteY0" fmla="*/ 128 h 1205383"/>
                <a:gd name="connsiteX1" fmla="*/ 9 w 999261"/>
                <a:gd name="connsiteY1" fmla="*/ 494325 h 1205383"/>
                <a:gd name="connsiteX2" fmla="*/ 495324 w 999261"/>
                <a:gd name="connsiteY2" fmla="*/ 994258 h 1205383"/>
                <a:gd name="connsiteX3" fmla="*/ 495324 w 999261"/>
                <a:gd name="connsiteY3" fmla="*/ 1205383 h 1205383"/>
                <a:gd name="connsiteX4" fmla="*/ 838884 w 999261"/>
                <a:gd name="connsiteY4" fmla="*/ 862408 h 1205383"/>
                <a:gd name="connsiteX5" fmla="*/ 867242 w 999261"/>
                <a:gd name="connsiteY5" fmla="*/ 160023 h 1205383"/>
                <a:gd name="connsiteX6" fmla="*/ 501072 w 999261"/>
                <a:gd name="connsiteY6" fmla="*/ 0 h 12053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99261" h="1205383">
                  <a:moveTo>
                    <a:pt x="501072" y="128"/>
                  </a:moveTo>
                  <a:cubicBezTo>
                    <a:pt x="225931" y="-1459"/>
                    <a:pt x="1599" y="219805"/>
                    <a:pt x="9" y="494325"/>
                  </a:cubicBezTo>
                  <a:cubicBezTo>
                    <a:pt x="-1582" y="768845"/>
                    <a:pt x="220183" y="992671"/>
                    <a:pt x="495324" y="994258"/>
                  </a:cubicBezTo>
                  <a:lnTo>
                    <a:pt x="495324" y="1205383"/>
                  </a:lnTo>
                  <a:lnTo>
                    <a:pt x="838884" y="862408"/>
                  </a:lnTo>
                  <a:cubicBezTo>
                    <a:pt x="1041098" y="676263"/>
                    <a:pt x="1053808" y="361793"/>
                    <a:pt x="867242" y="160023"/>
                  </a:cubicBezTo>
                  <a:cubicBezTo>
                    <a:pt x="772905" y="58016"/>
                    <a:pt x="640170" y="0"/>
                    <a:pt x="501072" y="0"/>
                  </a:cubicBezTo>
                  <a:close/>
                </a:path>
              </a:pathLst>
            </a:custGeom>
            <a:grpFill/>
            <a:ln w="63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BG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CDEC9423-D3E3-AC4E-8565-1B8DA4881327}"/>
                </a:ext>
              </a:extLst>
            </p:cNvPr>
            <p:cNvSpPr/>
            <p:nvPr/>
          </p:nvSpPr>
          <p:spPr>
            <a:xfrm>
              <a:off x="8460710" y="1247606"/>
              <a:ext cx="996380" cy="1205223"/>
            </a:xfrm>
            <a:custGeom>
              <a:avLst/>
              <a:gdLst>
                <a:gd name="connsiteX0" fmla="*/ 996380 w 996380"/>
                <a:gd name="connsiteY0" fmla="*/ 497033 h 1205223"/>
                <a:gd name="connsiteX1" fmla="*/ 498126 w 996380"/>
                <a:gd name="connsiteY1" fmla="*/ 0 h 1205223"/>
                <a:gd name="connsiteX2" fmla="*/ 0 w 996380"/>
                <a:gd name="connsiteY2" fmla="*/ 497103 h 1205223"/>
                <a:gd name="connsiteX3" fmla="*/ 492378 w 996380"/>
                <a:gd name="connsiteY3" fmla="*/ 994098 h 1205223"/>
                <a:gd name="connsiteX4" fmla="*/ 492378 w 996380"/>
                <a:gd name="connsiteY4" fmla="*/ 1205224 h 1205223"/>
                <a:gd name="connsiteX5" fmla="*/ 836001 w 996380"/>
                <a:gd name="connsiteY5" fmla="*/ 862440 h 1205223"/>
                <a:gd name="connsiteX6" fmla="*/ 996380 w 996380"/>
                <a:gd name="connsiteY6" fmla="*/ 497033 h 1205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96380" h="1205223">
                  <a:moveTo>
                    <a:pt x="996380" y="497033"/>
                  </a:moveTo>
                  <a:cubicBezTo>
                    <a:pt x="996380" y="222513"/>
                    <a:pt x="773280" y="-19"/>
                    <a:pt x="498126" y="0"/>
                  </a:cubicBezTo>
                  <a:cubicBezTo>
                    <a:pt x="223036" y="19"/>
                    <a:pt x="0" y="222577"/>
                    <a:pt x="0" y="497103"/>
                  </a:cubicBezTo>
                  <a:cubicBezTo>
                    <a:pt x="0" y="769348"/>
                    <a:pt x="219523" y="990925"/>
                    <a:pt x="492378" y="994098"/>
                  </a:cubicBezTo>
                  <a:lnTo>
                    <a:pt x="492378" y="1205224"/>
                  </a:lnTo>
                  <a:lnTo>
                    <a:pt x="836001" y="862440"/>
                  </a:lnTo>
                  <a:cubicBezTo>
                    <a:pt x="938386" y="768399"/>
                    <a:pt x="996508" y="635861"/>
                    <a:pt x="996380" y="497033"/>
                  </a:cubicBezTo>
                  <a:close/>
                </a:path>
              </a:pathLst>
            </a:custGeom>
            <a:grpFill/>
            <a:ln w="63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BG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0589BE5-6A57-8F4D-9D8C-C52E1A56647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99529" y="2133601"/>
            <a:ext cx="6270160" cy="3201988"/>
          </a:xfrm>
        </p:spPr>
        <p:txBody>
          <a:bodyPr tIns="108000"/>
          <a:lstStyle>
            <a:lvl1pPr marL="0" indent="0">
              <a:lnSpc>
                <a:spcPct val="80000"/>
              </a:lnSpc>
              <a:buNone/>
              <a:defRPr sz="4000" b="1" spc="-10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Quote Slide, Enter Quote Here.”</a:t>
            </a:r>
          </a:p>
          <a:p>
            <a:pPr lvl="0"/>
            <a:endParaRPr lang="en-GB"/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615FBD6B-2193-5748-97C2-9D65081F37D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98287" y="5584345"/>
            <a:ext cx="6278116" cy="414323"/>
          </a:xfrm>
        </p:spPr>
        <p:txBody>
          <a:bodyPr tIns="36000" anchor="ctr" anchorCtr="0">
            <a:noAutofit/>
          </a:bodyPr>
          <a:lstStyle>
            <a:lvl1pPr marL="0" indent="0" algn="l">
              <a:lnSpc>
                <a:spcPts val="1800"/>
              </a:lnSpc>
              <a:buNone/>
              <a:defRPr sz="2000" b="1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3F18DBE1-9B92-D54B-A7D7-214D918E2C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98287" y="5998670"/>
            <a:ext cx="6278116" cy="321052"/>
          </a:xfrm>
        </p:spPr>
        <p:txBody>
          <a:bodyPr tIns="72000" anchor="t">
            <a:noAutofit/>
          </a:bodyPr>
          <a:lstStyle>
            <a:lvl1pPr marL="0" indent="0" algn="l">
              <a:lnSpc>
                <a:spcPts val="1800"/>
              </a:lnSpc>
              <a:buNone/>
              <a:defRPr sz="1800" b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795217E5-E444-2F42-BDF3-093FC00C6F30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6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1" smtClean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1">
              <a:solidFill>
                <a:schemeClr val="bg1">
                  <a:alpha val="7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1190F6A3-E932-A24A-9953-B1E4E911E0F0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5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1" smtClean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1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FB7BD70-621C-CC49-8746-9DC52C4D35B9}"/>
              </a:ext>
            </a:extLst>
          </p:cNvPr>
          <p:cNvSpPr txBox="1"/>
          <p:nvPr userDrawn="1"/>
        </p:nvSpPr>
        <p:spPr>
          <a:xfrm>
            <a:off x="5202387" y="6554397"/>
            <a:ext cx="3177152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600" b="0" spc="0" baseline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4 </a:t>
            </a:r>
            <a:r>
              <a:rPr lang="en-US" sz="600" b="0" i="0" spc="0" baseline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r>
              <a:rPr lang="en-US" sz="600" b="0" spc="0" baseline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ftware Corporation and/or its subsidiaries or affiliates. All rights reserved.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AC06D23-923F-E339-D21B-9D21B2543C42}"/>
              </a:ext>
            </a:extLst>
          </p:cNvPr>
          <p:cNvSpPr txBox="1"/>
          <p:nvPr userDrawn="1"/>
        </p:nvSpPr>
        <p:spPr>
          <a:xfrm>
            <a:off x="20443371" y="8098971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en-BG" sz="2400"/>
          </a:p>
        </p:txBody>
      </p:sp>
      <p:pic>
        <p:nvPicPr>
          <p:cNvPr id="29" name="Picture 3">
            <a:extLst>
              <a:ext uri="{FF2B5EF4-FFF2-40B4-BE49-F238E27FC236}">
                <a16:creationId xmlns:a16="http://schemas.microsoft.com/office/drawing/2014/main" id="{C56B1144-540E-1191-631D-F015DF9B66B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494075" y="6445423"/>
            <a:ext cx="939600" cy="217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412912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with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84872374-72A7-7A45-ABE4-B1FF923979E4}"/>
              </a:ext>
            </a:extLst>
          </p:cNvPr>
          <p:cNvSpPr/>
          <p:nvPr userDrawn="1"/>
        </p:nvSpPr>
        <p:spPr>
          <a:xfrm>
            <a:off x="6109382" y="0"/>
            <a:ext cx="6082618" cy="6858000"/>
          </a:xfrm>
          <a:prstGeom prst="rect">
            <a:avLst/>
          </a:prstGeom>
          <a:solidFill>
            <a:srgbClr val="5573ED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G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EF3E9104-9807-FDF1-7511-0C4BA605479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t="491" b="491"/>
          <a:stretch/>
        </p:blipFill>
        <p:spPr>
          <a:xfrm>
            <a:off x="6109382" y="0"/>
            <a:ext cx="6082618" cy="6858000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2287B1-B399-4ED6-9191-9832616F1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3233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9" imgH="349" progId="TCLayout.ActiveDocument.1">
                  <p:embed/>
                </p:oleObj>
              </mc:Choice>
              <mc:Fallback>
                <p:oleObj name="think-cell Slide" r:id="rId5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2287B1-B399-4ED6-9191-9832616F1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Picture Placeholder 13">
            <a:extLst>
              <a:ext uri="{FF2B5EF4-FFF2-40B4-BE49-F238E27FC236}">
                <a16:creationId xmlns:a16="http://schemas.microsoft.com/office/drawing/2014/main" id="{FE70C55F-FA1C-E44F-B935-846720A2D16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109382" cy="6858000"/>
          </a:xfrm>
          <a:solidFill>
            <a:schemeClr val="bg2"/>
          </a:solidFill>
        </p:spPr>
        <p:txBody>
          <a:bodyPr vert="horz" lIns="91440" tIns="72000" rIns="91440" bIns="756000" rtlCol="0" anchor="ctr">
            <a:noAutofit/>
          </a:bodyPr>
          <a:lstStyle>
            <a:lvl1pPr marL="0" indent="0">
              <a:buNone/>
              <a:defRPr lang="en-US" sz="18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algn="ctr"/>
            <a:r>
              <a:rPr lang="en-GB"/>
              <a:t>Click icon to add picture</a:t>
            </a:r>
            <a:endParaRPr lang="en-US"/>
          </a:p>
        </p:txBody>
      </p:sp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FE956ECD-98A7-BB48-AD4E-41CD7BA5A6AA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6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1" smtClean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1">
              <a:solidFill>
                <a:schemeClr val="bg1">
                  <a:alpha val="7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341D0F29-2B64-464A-AF00-6DC7474EA211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5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1" smtClean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1">
              <a:solidFill>
                <a:schemeClr val="bg1">
                  <a:alpha val="7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7" name="Picture 2">
            <a:extLst>
              <a:ext uri="{FF2B5EF4-FFF2-40B4-BE49-F238E27FC236}">
                <a16:creationId xmlns:a16="http://schemas.microsoft.com/office/drawing/2014/main" id="{CAF5AAA1-BBCB-40FE-8286-4581A3B9842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494075" y="6453499"/>
            <a:ext cx="939600" cy="217948"/>
          </a:xfrm>
          <a:prstGeom prst="rect">
            <a:avLst/>
          </a:prstGeom>
        </p:spPr>
      </p:pic>
      <p:grpSp>
        <p:nvGrpSpPr>
          <p:cNvPr id="23" name="Graphic 10">
            <a:extLst>
              <a:ext uri="{FF2B5EF4-FFF2-40B4-BE49-F238E27FC236}">
                <a16:creationId xmlns:a16="http://schemas.microsoft.com/office/drawing/2014/main" id="{5B7617CC-6FDB-EA47-A30B-F937416FF4A3}"/>
              </a:ext>
            </a:extLst>
          </p:cNvPr>
          <p:cNvGrpSpPr/>
          <p:nvPr userDrawn="1"/>
        </p:nvGrpSpPr>
        <p:grpSpPr>
          <a:xfrm>
            <a:off x="6275809" y="1144506"/>
            <a:ext cx="1421987" cy="786516"/>
            <a:chOff x="7352293" y="1247383"/>
            <a:chExt cx="2104797" cy="1205446"/>
          </a:xfrm>
          <a:solidFill>
            <a:schemeClr val="accent4"/>
          </a:solidFill>
        </p:grpSpPr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102DEC17-749A-5745-A3C8-8A951CB042CD}"/>
                </a:ext>
              </a:extLst>
            </p:cNvPr>
            <p:cNvSpPr/>
            <p:nvPr/>
          </p:nvSpPr>
          <p:spPr>
            <a:xfrm>
              <a:off x="7352293" y="1247383"/>
              <a:ext cx="999261" cy="1205383"/>
            </a:xfrm>
            <a:custGeom>
              <a:avLst/>
              <a:gdLst>
                <a:gd name="connsiteX0" fmla="*/ 501072 w 999261"/>
                <a:gd name="connsiteY0" fmla="*/ 128 h 1205383"/>
                <a:gd name="connsiteX1" fmla="*/ 9 w 999261"/>
                <a:gd name="connsiteY1" fmla="*/ 494325 h 1205383"/>
                <a:gd name="connsiteX2" fmla="*/ 495324 w 999261"/>
                <a:gd name="connsiteY2" fmla="*/ 994258 h 1205383"/>
                <a:gd name="connsiteX3" fmla="*/ 495324 w 999261"/>
                <a:gd name="connsiteY3" fmla="*/ 1205383 h 1205383"/>
                <a:gd name="connsiteX4" fmla="*/ 838884 w 999261"/>
                <a:gd name="connsiteY4" fmla="*/ 862408 h 1205383"/>
                <a:gd name="connsiteX5" fmla="*/ 867242 w 999261"/>
                <a:gd name="connsiteY5" fmla="*/ 160023 h 1205383"/>
                <a:gd name="connsiteX6" fmla="*/ 501072 w 999261"/>
                <a:gd name="connsiteY6" fmla="*/ 0 h 12053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99261" h="1205383">
                  <a:moveTo>
                    <a:pt x="501072" y="128"/>
                  </a:moveTo>
                  <a:cubicBezTo>
                    <a:pt x="225931" y="-1459"/>
                    <a:pt x="1599" y="219805"/>
                    <a:pt x="9" y="494325"/>
                  </a:cubicBezTo>
                  <a:cubicBezTo>
                    <a:pt x="-1582" y="768845"/>
                    <a:pt x="220183" y="992671"/>
                    <a:pt x="495324" y="994258"/>
                  </a:cubicBezTo>
                  <a:lnTo>
                    <a:pt x="495324" y="1205383"/>
                  </a:lnTo>
                  <a:lnTo>
                    <a:pt x="838884" y="862408"/>
                  </a:lnTo>
                  <a:cubicBezTo>
                    <a:pt x="1041098" y="676263"/>
                    <a:pt x="1053808" y="361793"/>
                    <a:pt x="867242" y="160023"/>
                  </a:cubicBezTo>
                  <a:cubicBezTo>
                    <a:pt x="772905" y="58016"/>
                    <a:pt x="640170" y="0"/>
                    <a:pt x="501072" y="0"/>
                  </a:cubicBezTo>
                  <a:close/>
                </a:path>
              </a:pathLst>
            </a:custGeom>
            <a:grpFill/>
            <a:ln w="63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BG">
                <a:solidFill>
                  <a:srgbClr val="CDFFCA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0DCD6703-F5A1-2C43-8B04-5009508CED50}"/>
                </a:ext>
              </a:extLst>
            </p:cNvPr>
            <p:cNvSpPr/>
            <p:nvPr/>
          </p:nvSpPr>
          <p:spPr>
            <a:xfrm>
              <a:off x="8460710" y="1247606"/>
              <a:ext cx="996380" cy="1205223"/>
            </a:xfrm>
            <a:custGeom>
              <a:avLst/>
              <a:gdLst>
                <a:gd name="connsiteX0" fmla="*/ 996380 w 996380"/>
                <a:gd name="connsiteY0" fmla="*/ 497033 h 1205223"/>
                <a:gd name="connsiteX1" fmla="*/ 498126 w 996380"/>
                <a:gd name="connsiteY1" fmla="*/ 0 h 1205223"/>
                <a:gd name="connsiteX2" fmla="*/ 0 w 996380"/>
                <a:gd name="connsiteY2" fmla="*/ 497103 h 1205223"/>
                <a:gd name="connsiteX3" fmla="*/ 492378 w 996380"/>
                <a:gd name="connsiteY3" fmla="*/ 994098 h 1205223"/>
                <a:gd name="connsiteX4" fmla="*/ 492378 w 996380"/>
                <a:gd name="connsiteY4" fmla="*/ 1205224 h 1205223"/>
                <a:gd name="connsiteX5" fmla="*/ 836001 w 996380"/>
                <a:gd name="connsiteY5" fmla="*/ 862440 h 1205223"/>
                <a:gd name="connsiteX6" fmla="*/ 996380 w 996380"/>
                <a:gd name="connsiteY6" fmla="*/ 497033 h 1205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96380" h="1205223">
                  <a:moveTo>
                    <a:pt x="996380" y="497033"/>
                  </a:moveTo>
                  <a:cubicBezTo>
                    <a:pt x="996380" y="222513"/>
                    <a:pt x="773280" y="-19"/>
                    <a:pt x="498126" y="0"/>
                  </a:cubicBezTo>
                  <a:cubicBezTo>
                    <a:pt x="223036" y="19"/>
                    <a:pt x="0" y="222577"/>
                    <a:pt x="0" y="497103"/>
                  </a:cubicBezTo>
                  <a:cubicBezTo>
                    <a:pt x="0" y="769348"/>
                    <a:pt x="219523" y="990925"/>
                    <a:pt x="492378" y="994098"/>
                  </a:cubicBezTo>
                  <a:lnTo>
                    <a:pt x="492378" y="1205224"/>
                  </a:lnTo>
                  <a:lnTo>
                    <a:pt x="836001" y="862440"/>
                  </a:lnTo>
                  <a:cubicBezTo>
                    <a:pt x="938386" y="768399"/>
                    <a:pt x="996508" y="635861"/>
                    <a:pt x="996380" y="497033"/>
                  </a:cubicBezTo>
                  <a:close/>
                </a:path>
              </a:pathLst>
            </a:custGeom>
            <a:grpFill/>
            <a:ln w="63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BG">
                <a:solidFill>
                  <a:srgbClr val="CDFFCA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F575823E-4AE2-E44E-AE42-22F39C525D5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578421" y="6027738"/>
            <a:ext cx="4891267" cy="315387"/>
          </a:xfrm>
        </p:spPr>
        <p:txBody>
          <a:bodyPr tIns="72000" anchor="t">
            <a:noAutofit/>
          </a:bodyPr>
          <a:lstStyle>
            <a:lvl1pPr marL="0" indent="0" algn="l">
              <a:lnSpc>
                <a:spcPts val="1800"/>
              </a:lnSpc>
              <a:buNone/>
              <a:defRPr sz="1800" b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peaker Titl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85BA675-54BD-2446-AC6B-564132E6194A}"/>
              </a:ext>
            </a:extLst>
          </p:cNvPr>
          <p:cNvSpPr txBox="1"/>
          <p:nvPr userDrawn="1"/>
        </p:nvSpPr>
        <p:spPr>
          <a:xfrm>
            <a:off x="6578421" y="6554397"/>
            <a:ext cx="3177152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600" b="0" spc="0" baseline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4 </a:t>
            </a:r>
            <a:r>
              <a:rPr lang="en-US" sz="600" b="0" i="0" spc="0" baseline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r>
              <a:rPr lang="en-US" sz="600" b="0" spc="0" baseline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ftware Corporation and/or its subsidiaries or affiliates. All rights reserved.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A0A3F1FD-95F0-2948-9D5D-3521866F62D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78421" y="5571495"/>
            <a:ext cx="4891267" cy="434001"/>
          </a:xfrm>
        </p:spPr>
        <p:txBody>
          <a:bodyPr tIns="36000" anchor="ctr" anchorCtr="0">
            <a:noAutofit/>
          </a:bodyPr>
          <a:lstStyle>
            <a:lvl1pPr marL="0" indent="0" algn="l">
              <a:lnSpc>
                <a:spcPts val="1800"/>
              </a:lnSpc>
              <a:buNone/>
              <a:defRPr sz="20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F1425309-3F12-D09E-2726-8CE0FEA705E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78421" y="2133601"/>
            <a:ext cx="4891268" cy="3201988"/>
          </a:xfrm>
        </p:spPr>
        <p:txBody>
          <a:bodyPr tIns="108000"/>
          <a:lstStyle>
            <a:lvl1pPr marL="0" indent="0">
              <a:lnSpc>
                <a:spcPct val="80000"/>
              </a:lnSpc>
              <a:buNone/>
              <a:defRPr sz="4000" b="1" spc="-1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Quote Slide, Enter Quote Here.”</a:t>
            </a:r>
          </a:p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4467116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full p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F9615A0-0E38-EA4B-A4CD-971B0012D7A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G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445B2FD4-94CD-999B-43EA-3AF1C25DEA6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51" t="-21668" b="1"/>
          <a:stretch/>
        </p:blipFill>
        <p:spPr>
          <a:xfrm>
            <a:off x="0" y="69551"/>
            <a:ext cx="12192000" cy="6858000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2287B1-B399-4ED6-9191-9832616F1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585199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9" imgH="349" progId="TCLayout.ActiveDocument.1">
                  <p:embed/>
                </p:oleObj>
              </mc:Choice>
              <mc:Fallback>
                <p:oleObj name="think-cell Slide" r:id="rId4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2287B1-B399-4ED6-9191-9832616F1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16F1C15D-96CD-B54C-9B65-84F58E5EFBB7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6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1" smtClean="0">
                <a:solidFill>
                  <a:schemeClr val="bg1">
                    <a:alpha val="69766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1">
              <a:solidFill>
                <a:schemeClr val="bg1">
                  <a:alpha val="69766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6" name="Graphic 10">
            <a:extLst>
              <a:ext uri="{FF2B5EF4-FFF2-40B4-BE49-F238E27FC236}">
                <a16:creationId xmlns:a16="http://schemas.microsoft.com/office/drawing/2014/main" id="{932DF292-4833-B247-953B-D4EA83227C77}"/>
              </a:ext>
            </a:extLst>
          </p:cNvPr>
          <p:cNvGrpSpPr/>
          <p:nvPr userDrawn="1"/>
        </p:nvGrpSpPr>
        <p:grpSpPr>
          <a:xfrm>
            <a:off x="757914" y="758595"/>
            <a:ext cx="2493286" cy="1429079"/>
            <a:chOff x="7355176" y="1247511"/>
            <a:chExt cx="2101340" cy="1204427"/>
          </a:xfrm>
        </p:grpSpPr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75D57D39-0B16-A64B-8443-72A68E313FB5}"/>
                </a:ext>
              </a:extLst>
            </p:cNvPr>
            <p:cNvSpPr/>
            <p:nvPr/>
          </p:nvSpPr>
          <p:spPr>
            <a:xfrm>
              <a:off x="7352293" y="1247383"/>
              <a:ext cx="999261" cy="1205383"/>
            </a:xfrm>
            <a:custGeom>
              <a:avLst/>
              <a:gdLst>
                <a:gd name="connsiteX0" fmla="*/ 501072 w 999261"/>
                <a:gd name="connsiteY0" fmla="*/ 128 h 1205383"/>
                <a:gd name="connsiteX1" fmla="*/ 9 w 999261"/>
                <a:gd name="connsiteY1" fmla="*/ 494325 h 1205383"/>
                <a:gd name="connsiteX2" fmla="*/ 495324 w 999261"/>
                <a:gd name="connsiteY2" fmla="*/ 994258 h 1205383"/>
                <a:gd name="connsiteX3" fmla="*/ 495324 w 999261"/>
                <a:gd name="connsiteY3" fmla="*/ 1205383 h 1205383"/>
                <a:gd name="connsiteX4" fmla="*/ 838884 w 999261"/>
                <a:gd name="connsiteY4" fmla="*/ 862408 h 1205383"/>
                <a:gd name="connsiteX5" fmla="*/ 867242 w 999261"/>
                <a:gd name="connsiteY5" fmla="*/ 160023 h 1205383"/>
                <a:gd name="connsiteX6" fmla="*/ 501072 w 999261"/>
                <a:gd name="connsiteY6" fmla="*/ 0 h 12053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99261" h="1205383">
                  <a:moveTo>
                    <a:pt x="501072" y="128"/>
                  </a:moveTo>
                  <a:cubicBezTo>
                    <a:pt x="225931" y="-1459"/>
                    <a:pt x="1599" y="219805"/>
                    <a:pt x="9" y="494325"/>
                  </a:cubicBezTo>
                  <a:cubicBezTo>
                    <a:pt x="-1582" y="768845"/>
                    <a:pt x="220183" y="992671"/>
                    <a:pt x="495324" y="994258"/>
                  </a:cubicBezTo>
                  <a:lnTo>
                    <a:pt x="495324" y="1205383"/>
                  </a:lnTo>
                  <a:lnTo>
                    <a:pt x="838884" y="862408"/>
                  </a:lnTo>
                  <a:cubicBezTo>
                    <a:pt x="1041098" y="676263"/>
                    <a:pt x="1053808" y="361793"/>
                    <a:pt x="867242" y="160023"/>
                  </a:cubicBezTo>
                  <a:cubicBezTo>
                    <a:pt x="772905" y="58016"/>
                    <a:pt x="640170" y="0"/>
                    <a:pt x="501072" y="0"/>
                  </a:cubicBezTo>
                  <a:close/>
                </a:path>
              </a:pathLst>
            </a:custGeom>
            <a:solidFill>
              <a:srgbClr val="CDFFCA"/>
            </a:solidFill>
            <a:ln w="63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BG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56FD022E-5944-DA47-BE61-7F1690CE160F}"/>
                </a:ext>
              </a:extLst>
            </p:cNvPr>
            <p:cNvSpPr/>
            <p:nvPr/>
          </p:nvSpPr>
          <p:spPr>
            <a:xfrm>
              <a:off x="8460710" y="1247606"/>
              <a:ext cx="996380" cy="1205223"/>
            </a:xfrm>
            <a:custGeom>
              <a:avLst/>
              <a:gdLst>
                <a:gd name="connsiteX0" fmla="*/ 996380 w 996380"/>
                <a:gd name="connsiteY0" fmla="*/ 497033 h 1205223"/>
                <a:gd name="connsiteX1" fmla="*/ 498126 w 996380"/>
                <a:gd name="connsiteY1" fmla="*/ 0 h 1205223"/>
                <a:gd name="connsiteX2" fmla="*/ 0 w 996380"/>
                <a:gd name="connsiteY2" fmla="*/ 497103 h 1205223"/>
                <a:gd name="connsiteX3" fmla="*/ 492378 w 996380"/>
                <a:gd name="connsiteY3" fmla="*/ 994098 h 1205223"/>
                <a:gd name="connsiteX4" fmla="*/ 492378 w 996380"/>
                <a:gd name="connsiteY4" fmla="*/ 1205224 h 1205223"/>
                <a:gd name="connsiteX5" fmla="*/ 836001 w 996380"/>
                <a:gd name="connsiteY5" fmla="*/ 862440 h 1205223"/>
                <a:gd name="connsiteX6" fmla="*/ 996380 w 996380"/>
                <a:gd name="connsiteY6" fmla="*/ 497033 h 1205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96380" h="1205223">
                  <a:moveTo>
                    <a:pt x="996380" y="497033"/>
                  </a:moveTo>
                  <a:cubicBezTo>
                    <a:pt x="996380" y="222513"/>
                    <a:pt x="773280" y="-19"/>
                    <a:pt x="498126" y="0"/>
                  </a:cubicBezTo>
                  <a:cubicBezTo>
                    <a:pt x="223036" y="19"/>
                    <a:pt x="0" y="222577"/>
                    <a:pt x="0" y="497103"/>
                  </a:cubicBezTo>
                  <a:cubicBezTo>
                    <a:pt x="0" y="769348"/>
                    <a:pt x="219523" y="990925"/>
                    <a:pt x="492378" y="994098"/>
                  </a:cubicBezTo>
                  <a:lnTo>
                    <a:pt x="492378" y="1205224"/>
                  </a:lnTo>
                  <a:lnTo>
                    <a:pt x="836001" y="862440"/>
                  </a:lnTo>
                  <a:cubicBezTo>
                    <a:pt x="938386" y="768399"/>
                    <a:pt x="996508" y="635861"/>
                    <a:pt x="996380" y="497033"/>
                  </a:cubicBezTo>
                  <a:close/>
                </a:path>
              </a:pathLst>
            </a:custGeom>
            <a:solidFill>
              <a:srgbClr val="CDFFCA"/>
            </a:solidFill>
            <a:ln w="63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BG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43CE5176-45CA-FA49-B95F-C93300B5B02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06699" y="4670326"/>
            <a:ext cx="4694052" cy="346934"/>
          </a:xfrm>
        </p:spPr>
        <p:txBody>
          <a:bodyPr tIns="36000" anchor="ctr" anchorCtr="0">
            <a:noAutofit/>
          </a:bodyPr>
          <a:lstStyle>
            <a:lvl1pPr marL="0" indent="0" algn="l">
              <a:lnSpc>
                <a:spcPts val="1800"/>
              </a:lnSpc>
              <a:buNone/>
              <a:defRPr sz="20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BB114C84-0226-6C4B-A9B5-4A50F19EA3D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06699" y="5072956"/>
            <a:ext cx="4694052" cy="318328"/>
          </a:xfrm>
        </p:spPr>
        <p:txBody>
          <a:bodyPr tIns="72000" anchor="t">
            <a:noAutofit/>
          </a:bodyPr>
          <a:lstStyle>
            <a:lvl1pPr marL="0" indent="0" algn="l">
              <a:lnSpc>
                <a:spcPts val="1800"/>
              </a:lnSpc>
              <a:buNone/>
              <a:defRPr sz="1800" b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peaker Titl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B570969-DADA-9F43-A66C-7A2FAD252773}"/>
              </a:ext>
            </a:extLst>
          </p:cNvPr>
          <p:cNvSpPr txBox="1"/>
          <p:nvPr userDrawn="1"/>
        </p:nvSpPr>
        <p:spPr>
          <a:xfrm>
            <a:off x="4507424" y="6554397"/>
            <a:ext cx="3177152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600" b="0" spc="0" baseline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4 </a:t>
            </a:r>
            <a:r>
              <a:rPr lang="en-US" sz="600" b="0" i="0" spc="0" baseline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r>
              <a:rPr lang="en-US" sz="600" b="0" spc="0" baseline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ftware Corporation and/or its subsidiaries or affiliates. All rights reserved.</a:t>
            </a:r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346CB3B5-D1C7-900C-5370-31BEE27EE4F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306698" y="2351624"/>
            <a:ext cx="9643800" cy="1825012"/>
          </a:xfrm>
        </p:spPr>
        <p:txBody>
          <a:bodyPr tIns="108000"/>
          <a:lstStyle>
            <a:lvl1pPr marL="0" indent="0">
              <a:lnSpc>
                <a:spcPct val="80000"/>
              </a:lnSpc>
              <a:buNone/>
              <a:defRPr sz="4400" b="1" spc="-1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Quote Slide, Enter Quote Here.”</a:t>
            </a:r>
          </a:p>
          <a:p>
            <a:pPr lvl="0"/>
            <a:endParaRPr lang="en-GB"/>
          </a:p>
        </p:txBody>
      </p:sp>
      <p:pic>
        <p:nvPicPr>
          <p:cNvPr id="6" name="Picture 3">
            <a:extLst>
              <a:ext uri="{FF2B5EF4-FFF2-40B4-BE49-F238E27FC236}">
                <a16:creationId xmlns:a16="http://schemas.microsoft.com/office/drawing/2014/main" id="{3CCC3C31-5E1F-2438-0D55-ADEB235974B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494075" y="6445423"/>
            <a:ext cx="939600" cy="217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904258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full page 1">
    <p:bg>
      <p:bgPr>
        <a:solidFill>
          <a:srgbClr val="5573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F02BD20E-7A59-25FC-7538-117CC98F759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46" b="246"/>
          <a:stretch/>
        </p:blipFill>
        <p:spPr>
          <a:xfrm>
            <a:off x="-362" y="-11430"/>
            <a:ext cx="12212320" cy="6869430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2287B1-B399-4ED6-9191-9832616F1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585199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9" imgH="349" progId="TCLayout.ActiveDocument.1">
                  <p:embed/>
                </p:oleObj>
              </mc:Choice>
              <mc:Fallback>
                <p:oleObj name="think-cell Slide" r:id="rId4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2287B1-B399-4ED6-9191-9832616F1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16F1C15D-96CD-B54C-9B65-84F58E5EFBB7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6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1" smtClean="0">
                <a:solidFill>
                  <a:schemeClr val="bg1">
                    <a:alpha val="69766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1">
              <a:solidFill>
                <a:schemeClr val="bg1">
                  <a:alpha val="69766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6" name="Graphic 10">
            <a:extLst>
              <a:ext uri="{FF2B5EF4-FFF2-40B4-BE49-F238E27FC236}">
                <a16:creationId xmlns:a16="http://schemas.microsoft.com/office/drawing/2014/main" id="{932DF292-4833-B247-953B-D4EA83227C77}"/>
              </a:ext>
            </a:extLst>
          </p:cNvPr>
          <p:cNvGrpSpPr/>
          <p:nvPr userDrawn="1"/>
        </p:nvGrpSpPr>
        <p:grpSpPr>
          <a:xfrm>
            <a:off x="991905" y="1324220"/>
            <a:ext cx="1454087" cy="832775"/>
            <a:chOff x="7589417" y="1247383"/>
            <a:chExt cx="2104798" cy="1205446"/>
          </a:xfrm>
          <a:solidFill>
            <a:srgbClr val="5573ED"/>
          </a:solidFill>
        </p:grpSpPr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75D57D39-0B16-A64B-8443-72A68E313FB5}"/>
                </a:ext>
              </a:extLst>
            </p:cNvPr>
            <p:cNvSpPr/>
            <p:nvPr/>
          </p:nvSpPr>
          <p:spPr>
            <a:xfrm>
              <a:off x="7589417" y="1247383"/>
              <a:ext cx="999261" cy="1205383"/>
            </a:xfrm>
            <a:custGeom>
              <a:avLst/>
              <a:gdLst>
                <a:gd name="connsiteX0" fmla="*/ 501072 w 999261"/>
                <a:gd name="connsiteY0" fmla="*/ 128 h 1205383"/>
                <a:gd name="connsiteX1" fmla="*/ 9 w 999261"/>
                <a:gd name="connsiteY1" fmla="*/ 494325 h 1205383"/>
                <a:gd name="connsiteX2" fmla="*/ 495324 w 999261"/>
                <a:gd name="connsiteY2" fmla="*/ 994258 h 1205383"/>
                <a:gd name="connsiteX3" fmla="*/ 495324 w 999261"/>
                <a:gd name="connsiteY3" fmla="*/ 1205383 h 1205383"/>
                <a:gd name="connsiteX4" fmla="*/ 838884 w 999261"/>
                <a:gd name="connsiteY4" fmla="*/ 862408 h 1205383"/>
                <a:gd name="connsiteX5" fmla="*/ 867242 w 999261"/>
                <a:gd name="connsiteY5" fmla="*/ 160023 h 1205383"/>
                <a:gd name="connsiteX6" fmla="*/ 501072 w 999261"/>
                <a:gd name="connsiteY6" fmla="*/ 0 h 12053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99261" h="1205383">
                  <a:moveTo>
                    <a:pt x="501072" y="128"/>
                  </a:moveTo>
                  <a:cubicBezTo>
                    <a:pt x="225931" y="-1459"/>
                    <a:pt x="1599" y="219805"/>
                    <a:pt x="9" y="494325"/>
                  </a:cubicBezTo>
                  <a:cubicBezTo>
                    <a:pt x="-1582" y="768845"/>
                    <a:pt x="220183" y="992671"/>
                    <a:pt x="495324" y="994258"/>
                  </a:cubicBezTo>
                  <a:lnTo>
                    <a:pt x="495324" y="1205383"/>
                  </a:lnTo>
                  <a:lnTo>
                    <a:pt x="838884" y="862408"/>
                  </a:lnTo>
                  <a:cubicBezTo>
                    <a:pt x="1041098" y="676263"/>
                    <a:pt x="1053808" y="361793"/>
                    <a:pt x="867242" y="160023"/>
                  </a:cubicBezTo>
                  <a:cubicBezTo>
                    <a:pt x="772905" y="58016"/>
                    <a:pt x="640170" y="0"/>
                    <a:pt x="501072" y="0"/>
                  </a:cubicBezTo>
                  <a:close/>
                </a:path>
              </a:pathLst>
            </a:custGeom>
            <a:grpFill/>
            <a:ln w="63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BG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56FD022E-5944-DA47-BE61-7F1690CE160F}"/>
                </a:ext>
              </a:extLst>
            </p:cNvPr>
            <p:cNvSpPr/>
            <p:nvPr/>
          </p:nvSpPr>
          <p:spPr>
            <a:xfrm>
              <a:off x="8697835" y="1247606"/>
              <a:ext cx="996380" cy="1205223"/>
            </a:xfrm>
            <a:custGeom>
              <a:avLst/>
              <a:gdLst>
                <a:gd name="connsiteX0" fmla="*/ 996380 w 996380"/>
                <a:gd name="connsiteY0" fmla="*/ 497033 h 1205223"/>
                <a:gd name="connsiteX1" fmla="*/ 498126 w 996380"/>
                <a:gd name="connsiteY1" fmla="*/ 0 h 1205223"/>
                <a:gd name="connsiteX2" fmla="*/ 0 w 996380"/>
                <a:gd name="connsiteY2" fmla="*/ 497103 h 1205223"/>
                <a:gd name="connsiteX3" fmla="*/ 492378 w 996380"/>
                <a:gd name="connsiteY3" fmla="*/ 994098 h 1205223"/>
                <a:gd name="connsiteX4" fmla="*/ 492378 w 996380"/>
                <a:gd name="connsiteY4" fmla="*/ 1205224 h 1205223"/>
                <a:gd name="connsiteX5" fmla="*/ 836001 w 996380"/>
                <a:gd name="connsiteY5" fmla="*/ 862440 h 1205223"/>
                <a:gd name="connsiteX6" fmla="*/ 996380 w 996380"/>
                <a:gd name="connsiteY6" fmla="*/ 497033 h 1205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96380" h="1205223">
                  <a:moveTo>
                    <a:pt x="996380" y="497033"/>
                  </a:moveTo>
                  <a:cubicBezTo>
                    <a:pt x="996380" y="222513"/>
                    <a:pt x="773280" y="-19"/>
                    <a:pt x="498126" y="0"/>
                  </a:cubicBezTo>
                  <a:cubicBezTo>
                    <a:pt x="223036" y="19"/>
                    <a:pt x="0" y="222577"/>
                    <a:pt x="0" y="497103"/>
                  </a:cubicBezTo>
                  <a:cubicBezTo>
                    <a:pt x="0" y="769348"/>
                    <a:pt x="219523" y="990925"/>
                    <a:pt x="492378" y="994098"/>
                  </a:cubicBezTo>
                  <a:lnTo>
                    <a:pt x="492378" y="1205224"/>
                  </a:lnTo>
                  <a:lnTo>
                    <a:pt x="836001" y="862440"/>
                  </a:lnTo>
                  <a:cubicBezTo>
                    <a:pt x="938386" y="768399"/>
                    <a:pt x="996508" y="635861"/>
                    <a:pt x="996380" y="497033"/>
                  </a:cubicBezTo>
                  <a:close/>
                </a:path>
              </a:pathLst>
            </a:custGeom>
            <a:grpFill/>
            <a:ln w="63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BG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43CE5176-45CA-FA49-B95F-C93300B5B02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06699" y="4670326"/>
            <a:ext cx="4694052" cy="346934"/>
          </a:xfrm>
        </p:spPr>
        <p:txBody>
          <a:bodyPr tIns="36000" anchor="ctr" anchorCtr="0">
            <a:noAutofit/>
          </a:bodyPr>
          <a:lstStyle>
            <a:lvl1pPr marL="0" indent="0" algn="l">
              <a:lnSpc>
                <a:spcPts val="1800"/>
              </a:lnSpc>
              <a:buNone/>
              <a:defRPr sz="20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BB114C84-0226-6C4B-A9B5-4A50F19EA3D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06699" y="5072956"/>
            <a:ext cx="4694052" cy="318328"/>
          </a:xfrm>
        </p:spPr>
        <p:txBody>
          <a:bodyPr tIns="72000" anchor="t">
            <a:noAutofit/>
          </a:bodyPr>
          <a:lstStyle>
            <a:lvl1pPr marL="0" indent="0" algn="l">
              <a:lnSpc>
                <a:spcPts val="1800"/>
              </a:lnSpc>
              <a:buNone/>
              <a:defRPr sz="1800" b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peaker Titl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B570969-DADA-9F43-A66C-7A2FAD252773}"/>
              </a:ext>
            </a:extLst>
          </p:cNvPr>
          <p:cNvSpPr txBox="1"/>
          <p:nvPr userDrawn="1"/>
        </p:nvSpPr>
        <p:spPr>
          <a:xfrm>
            <a:off x="4507424" y="6554397"/>
            <a:ext cx="3177152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600" b="0" spc="0" baseline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4 </a:t>
            </a:r>
            <a:r>
              <a:rPr lang="en-US" sz="600" b="0" i="0" spc="0" baseline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r>
              <a:rPr lang="en-US" sz="600" b="0" spc="0" baseline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ftware Corporation and/or its subsidiaries or affiliates. All rights reserved.</a:t>
            </a:r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346CB3B5-D1C7-900C-5370-31BEE27EE4F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306698" y="2351624"/>
            <a:ext cx="9643800" cy="1825012"/>
          </a:xfrm>
        </p:spPr>
        <p:txBody>
          <a:bodyPr tIns="108000"/>
          <a:lstStyle>
            <a:lvl1pPr marL="0" indent="0">
              <a:lnSpc>
                <a:spcPct val="80000"/>
              </a:lnSpc>
              <a:buNone/>
              <a:defRPr sz="4400" b="1" spc="-1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Quote Slide, Enter Quote Here.”</a:t>
            </a:r>
          </a:p>
          <a:p>
            <a:pPr lvl="0"/>
            <a:endParaRPr lang="en-GB"/>
          </a:p>
        </p:txBody>
      </p:sp>
      <p:pic>
        <p:nvPicPr>
          <p:cNvPr id="6" name="Picture 3">
            <a:extLst>
              <a:ext uri="{FF2B5EF4-FFF2-40B4-BE49-F238E27FC236}">
                <a16:creationId xmlns:a16="http://schemas.microsoft.com/office/drawing/2014/main" id="{3CCC3C31-5E1F-2438-0D55-ADEB235974B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494075" y="6445423"/>
            <a:ext cx="939600" cy="217948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B4B37300-A2D2-8D27-9F8B-1AB8224C04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5628" t="21844" r="52124" b="55105"/>
          <a:stretch/>
        </p:blipFill>
        <p:spPr>
          <a:xfrm>
            <a:off x="6442365" y="3637303"/>
            <a:ext cx="5758262" cy="3220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539914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tems list">
    <p:bg>
      <p:bgPr>
        <a:solidFill>
          <a:srgbClr val="F4FA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4FCCA95E-2FC1-47A6-6A63-3E9A6342C15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5570" t="30" r="2" b="82"/>
          <a:stretch/>
        </p:blipFill>
        <p:spPr>
          <a:xfrm>
            <a:off x="21266" y="7434"/>
            <a:ext cx="12192000" cy="6865434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205CF0B4-CB31-1A50-D4A8-298CBB885BD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03136" y="3520699"/>
            <a:ext cx="5367598" cy="3337301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079DEE5-21BE-4808-BA4C-CB06842D7A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68136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9" imgH="349" progId="TCLayout.ActiveDocument.1">
                  <p:embed/>
                </p:oleObj>
              </mc:Choice>
              <mc:Fallback>
                <p:oleObj name="think-cell Slide" r:id="rId5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079DEE5-21BE-4808-BA4C-CB06842D7A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CD3C179-3A96-4AF2-8537-E4515FA2F2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3600" y="538163"/>
            <a:ext cx="5277150" cy="1370012"/>
          </a:xfrm>
        </p:spPr>
        <p:txBody>
          <a:bodyPr vert="horz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3 Items / Features </a:t>
            </a:r>
            <a:br>
              <a:rPr lang="en-US"/>
            </a:br>
            <a:r>
              <a:rPr lang="en-US"/>
              <a:t>Illustrated Bullet List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42E99C1D-FECF-1A48-9EF7-1B84A71BCB6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2313" y="3656912"/>
            <a:ext cx="2853447" cy="2800902"/>
          </a:xfrm>
          <a:prstGeom prst="rect">
            <a:avLst/>
          </a:prstGeom>
        </p:spPr>
        <p:txBody>
          <a:bodyPr tIns="36000"/>
          <a:lstStyle>
            <a:lvl1pPr marL="0" indent="0">
              <a:lnSpc>
                <a:spcPct val="100000"/>
              </a:lnSpc>
              <a:buFontTx/>
              <a:buNone/>
              <a:defRPr sz="24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Example Text</a:t>
            </a:r>
            <a:endParaRPr lang="en-BG"/>
          </a:p>
        </p:txBody>
      </p:sp>
      <p:sp>
        <p:nvSpPr>
          <p:cNvPr id="16" name="Text Placeholder 18">
            <a:extLst>
              <a:ext uri="{FF2B5EF4-FFF2-40B4-BE49-F238E27FC236}">
                <a16:creationId xmlns:a16="http://schemas.microsoft.com/office/drawing/2014/main" id="{A5EF1190-5546-9344-8150-9CFE9B58C8F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22313" y="3001642"/>
            <a:ext cx="2853447" cy="461963"/>
          </a:xfrm>
          <a:prstGeom prst="rect">
            <a:avLst/>
          </a:prstGeom>
        </p:spPr>
        <p:txBody>
          <a:bodyPr anchor="ctr" anchorCtr="0"/>
          <a:lstStyle>
            <a:lvl1pPr marL="0" indent="0">
              <a:buFontTx/>
              <a:buNone/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/>
              <a:t>Item 1</a:t>
            </a:r>
          </a:p>
        </p:txBody>
      </p:sp>
      <p:sp>
        <p:nvSpPr>
          <p:cNvPr id="17" name="Text Placeholder 18">
            <a:extLst>
              <a:ext uri="{FF2B5EF4-FFF2-40B4-BE49-F238E27FC236}">
                <a16:creationId xmlns:a16="http://schemas.microsoft.com/office/drawing/2014/main" id="{16A0B128-769D-D245-8408-26CCA207BC1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10705" y="3001642"/>
            <a:ext cx="2874942" cy="461963"/>
          </a:xfrm>
          <a:prstGeom prst="rect">
            <a:avLst/>
          </a:prstGeom>
        </p:spPr>
        <p:txBody>
          <a:bodyPr anchor="ctr" anchorCtr="0"/>
          <a:lstStyle>
            <a:lvl1pPr marL="0" indent="0">
              <a:buFontTx/>
              <a:buNone/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/>
              <a:t>Item 2</a:t>
            </a:r>
          </a:p>
        </p:txBody>
      </p:sp>
      <p:sp>
        <p:nvSpPr>
          <p:cNvPr id="18" name="Text Placeholder 18">
            <a:extLst>
              <a:ext uri="{FF2B5EF4-FFF2-40B4-BE49-F238E27FC236}">
                <a16:creationId xmlns:a16="http://schemas.microsoft.com/office/drawing/2014/main" id="{5E8F70FE-71F1-1049-9CF2-2848562EF1A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914826" y="3001642"/>
            <a:ext cx="2882466" cy="461963"/>
          </a:xfrm>
          <a:prstGeom prst="rect">
            <a:avLst/>
          </a:prstGeom>
        </p:spPr>
        <p:txBody>
          <a:bodyPr anchor="ctr" anchorCtr="0"/>
          <a:lstStyle>
            <a:lvl1pPr marL="0" indent="0">
              <a:buFontTx/>
              <a:buNone/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/>
              <a:t>Item 3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B3C19AD2-A4A1-4544-935C-AFEE661EF76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10705" y="3656911"/>
            <a:ext cx="2874942" cy="2800902"/>
          </a:xfrm>
          <a:prstGeom prst="rect">
            <a:avLst/>
          </a:prstGeom>
        </p:spPr>
        <p:txBody>
          <a:bodyPr tIns="36000"/>
          <a:lstStyle>
            <a:lvl1pPr marL="0" indent="0">
              <a:lnSpc>
                <a:spcPct val="100000"/>
              </a:lnSpc>
              <a:buFontTx/>
              <a:buNone/>
              <a:defRPr sz="24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Example Text</a:t>
            </a:r>
            <a:endParaRPr lang="en-BG"/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B07DDF4F-EBAE-AE44-900E-77CE0CF9BA9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20592" y="3664943"/>
            <a:ext cx="2874942" cy="2800902"/>
          </a:xfrm>
          <a:prstGeom prst="rect">
            <a:avLst/>
          </a:prstGeom>
        </p:spPr>
        <p:txBody>
          <a:bodyPr tIns="36000"/>
          <a:lstStyle>
            <a:lvl1pPr marL="0" indent="0">
              <a:lnSpc>
                <a:spcPct val="100000"/>
              </a:lnSpc>
              <a:buFontTx/>
              <a:buNone/>
              <a:defRPr sz="24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Example Text</a:t>
            </a:r>
            <a:endParaRPr lang="en-BG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FF08D86-7899-F842-CD0A-6EF47974EB85}"/>
              </a:ext>
            </a:extLst>
          </p:cNvPr>
          <p:cNvSpPr txBox="1"/>
          <p:nvPr userDrawn="1"/>
        </p:nvSpPr>
        <p:spPr>
          <a:xfrm>
            <a:off x="4507424" y="6554397"/>
            <a:ext cx="3177152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600" b="0" spc="0" baseline="0">
                <a:solidFill>
                  <a:srgbClr val="7F7F7F"/>
                </a:solidFill>
                <a:latin typeface="Arial"/>
                <a:cs typeface="Arial"/>
              </a:rPr>
              <a:t>© </a:t>
            </a:r>
            <a:r>
              <a:rPr lang="en-US" sz="600">
                <a:solidFill>
                  <a:srgbClr val="7F7F7F"/>
                </a:solidFill>
                <a:latin typeface="Arial"/>
                <a:cs typeface="Arial"/>
              </a:rPr>
              <a:t>2024</a:t>
            </a:r>
            <a:r>
              <a:rPr lang="en-US" sz="600" b="0" spc="0" baseline="0">
                <a:solidFill>
                  <a:srgbClr val="7F7F7F"/>
                </a:solidFill>
                <a:latin typeface="Arial"/>
                <a:cs typeface="Arial"/>
              </a:rPr>
              <a:t> </a:t>
            </a:r>
            <a:r>
              <a:rPr lang="en-US" sz="600" b="0" i="0" spc="0" baseline="0">
                <a:solidFill>
                  <a:srgbClr val="7F7F7F"/>
                </a:solidFill>
                <a:latin typeface="Arial"/>
                <a:cs typeface="Arial"/>
              </a:rPr>
              <a:t>Progress</a:t>
            </a:r>
            <a:r>
              <a:rPr lang="en-US" sz="600" b="0" spc="0" baseline="0">
                <a:solidFill>
                  <a:srgbClr val="7F7F7F"/>
                </a:solidFill>
                <a:latin typeface="Arial"/>
                <a:cs typeface="Arial"/>
              </a:rPr>
              <a:t> Software Corporation and/or its subsidiaries or affiliates. All rights reserved.</a:t>
            </a:r>
          </a:p>
        </p:txBody>
      </p:sp>
      <p:pic>
        <p:nvPicPr>
          <p:cNvPr id="9" name="Picture 2">
            <a:hlinkClick r:id="rId7"/>
            <a:extLst>
              <a:ext uri="{FF2B5EF4-FFF2-40B4-BE49-F238E27FC236}">
                <a16:creationId xmlns:a16="http://schemas.microsoft.com/office/drawing/2014/main" id="{C871901E-BFBE-F30F-C727-EF029CB210E9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494075" y="6453499"/>
            <a:ext cx="939600" cy="210987"/>
          </a:xfrm>
          <a:prstGeom prst="rect">
            <a:avLst/>
          </a:prstGeom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14C7DCB2-7526-827A-0BFA-F84CADD7A0D2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6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1" smtClean="0">
                <a:solidFill>
                  <a:schemeClr val="tx1">
                    <a:alpha val="69766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1">
              <a:solidFill>
                <a:schemeClr val="tx1">
                  <a:alpha val="69766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69013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ue No Photo">
    <p:bg>
      <p:bgPr>
        <a:solidFill>
          <a:schemeClr val="bg1">
            <a:alpha val="1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485F10A-E66C-4489-AA0B-94914B2089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41145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485F10A-E66C-4489-AA0B-94914B2089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AFE9A584-67A4-F159-B817-D0B9351FB0B6}"/>
              </a:ext>
            </a:extLst>
          </p:cNvPr>
          <p:cNvSpPr txBox="1"/>
          <p:nvPr userDrawn="1"/>
        </p:nvSpPr>
        <p:spPr>
          <a:xfrm>
            <a:off x="-4231758" y="1998921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en-BG" sz="2400">
              <a:solidFill>
                <a:schemeClr val="bg1"/>
              </a:solidFill>
            </a:endParaRP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AB22FE11-4524-4AA3-E6C3-EF1C8C7C828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38973" y="4846683"/>
            <a:ext cx="5278437" cy="388554"/>
          </a:xfrm>
        </p:spPr>
        <p:txBody>
          <a:bodyPr tIns="36000" anchor="ctr" anchorCtr="0">
            <a:noAutofit/>
          </a:bodyPr>
          <a:lstStyle>
            <a:lvl1pPr marL="0" indent="0" algn="l">
              <a:lnSpc>
                <a:spcPct val="90000"/>
              </a:lnSpc>
              <a:buNone/>
              <a:defRPr sz="2400" b="1" i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E6E173C7-8A3B-8AF4-2897-F856A3774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38973" y="5312130"/>
            <a:ext cx="5278437" cy="312131"/>
          </a:xfrm>
        </p:spPr>
        <p:txBody>
          <a:bodyPr tIns="72000" anchor="ctr" anchorCtr="0">
            <a:noAutofit/>
          </a:bodyPr>
          <a:lstStyle>
            <a:lvl1pPr marL="0" indent="0" algn="l">
              <a:lnSpc>
                <a:spcPct val="90000"/>
              </a:lnSpc>
              <a:buNone/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peaker Tit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3B27B160-C14E-EFE9-52E3-0F9F6E80F4C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38973" y="5771692"/>
            <a:ext cx="5278437" cy="312131"/>
          </a:xfrm>
        </p:spPr>
        <p:txBody>
          <a:bodyPr tIns="72000" anchor="ctr" anchorCtr="0">
            <a:noAutofit/>
          </a:bodyPr>
          <a:lstStyle>
            <a:lvl1pPr marL="0" indent="0" algn="l">
              <a:lnSpc>
                <a:spcPts val="1800"/>
              </a:lnSpc>
              <a:buNone/>
              <a:defRPr sz="1800" b="0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6" name="Title 3">
            <a:extLst>
              <a:ext uri="{FF2B5EF4-FFF2-40B4-BE49-F238E27FC236}">
                <a16:creationId xmlns:a16="http://schemas.microsoft.com/office/drawing/2014/main" id="{94B2CFD9-82D0-DB2F-0AAD-469F18BED4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8973" y="1594770"/>
            <a:ext cx="5261778" cy="1199693"/>
          </a:xfrm>
          <a:prstGeom prst="rect">
            <a:avLst/>
          </a:prstGeom>
        </p:spPr>
        <p:txBody>
          <a:bodyPr lIns="0" tIns="108000" rIns="0" bIns="0" anchor="t" anchorCtr="0">
            <a:noAutofit/>
          </a:bodyPr>
          <a:lstStyle>
            <a:lvl1pPr>
              <a:lnSpc>
                <a:spcPct val="85000"/>
              </a:lnSpc>
              <a:defRPr sz="4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BG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29C5F5FE-80EB-E8A2-DBC7-36DC671B79E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38973" y="3356068"/>
            <a:ext cx="5294312" cy="674687"/>
          </a:xfrm>
        </p:spPr>
        <p:txBody>
          <a:bodyPr/>
          <a:lstStyle>
            <a:lvl1pPr marL="0" indent="0">
              <a:lnSpc>
                <a:spcPct val="114000"/>
              </a:lnSpc>
              <a:buNone/>
              <a:defRPr sz="2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GB" err="1"/>
              <a:t>Subheadline</a:t>
            </a:r>
            <a:endParaRPr lang="en-BG"/>
          </a:p>
        </p:txBody>
      </p:sp>
      <p:pic>
        <p:nvPicPr>
          <p:cNvPr id="20" name="Picture 2">
            <a:extLst>
              <a:ext uri="{FF2B5EF4-FFF2-40B4-BE49-F238E27FC236}">
                <a16:creationId xmlns:a16="http://schemas.microsoft.com/office/drawing/2014/main" id="{CEE710EE-4C07-586B-2806-D6AD33A6B22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426315" y="745314"/>
            <a:ext cx="1341526" cy="31117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BD91F1D-535D-954B-F99C-465475A4366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102" t="-1100" b="-818"/>
          <a:stretch/>
        </p:blipFill>
        <p:spPr>
          <a:xfrm>
            <a:off x="6742444" y="-82297"/>
            <a:ext cx="5449556" cy="69964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95954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tems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625A317-569A-41B3-A3AE-1CBF90C53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14557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625A317-569A-41B3-A3AE-1CBF90C53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20">
            <a:extLst>
              <a:ext uri="{FF2B5EF4-FFF2-40B4-BE49-F238E27FC236}">
                <a16:creationId xmlns:a16="http://schemas.microsoft.com/office/drawing/2014/main" id="{AEE74F99-8271-C34E-885E-3E090017D8E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2313" y="3524345"/>
            <a:ext cx="2528887" cy="2618789"/>
          </a:xfrm>
          <a:prstGeom prst="rect">
            <a:avLst/>
          </a:prstGeom>
        </p:spPr>
        <p:txBody>
          <a:bodyPr tIns="36000"/>
          <a:lstStyle>
            <a:lvl1pPr marL="0" indent="0">
              <a:lnSpc>
                <a:spcPct val="100000"/>
              </a:lnSpc>
              <a:buFontTx/>
              <a:buNone/>
              <a:defRPr sz="24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Example Text</a:t>
            </a:r>
            <a:endParaRPr lang="en-BG"/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B721594E-7484-5E47-8564-98DE9C29C25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22313" y="2915975"/>
            <a:ext cx="2528887" cy="461963"/>
          </a:xfrm>
          <a:prstGeom prst="rect">
            <a:avLst/>
          </a:prstGeom>
        </p:spPr>
        <p:txBody>
          <a:bodyPr anchor="ctr" anchorCtr="0"/>
          <a:lstStyle>
            <a:lvl1pPr marL="0" indent="0">
              <a:buFontTx/>
              <a:buNone/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/>
              <a:t>Item 1</a:t>
            </a:r>
          </a:p>
        </p:txBody>
      </p:sp>
      <p:sp>
        <p:nvSpPr>
          <p:cNvPr id="23" name="Text Placeholder 18">
            <a:extLst>
              <a:ext uri="{FF2B5EF4-FFF2-40B4-BE49-F238E27FC236}">
                <a16:creationId xmlns:a16="http://schemas.microsoft.com/office/drawing/2014/main" id="{B1B99D54-15E5-9A44-BD9F-CDC7FA006D1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452813" y="2915975"/>
            <a:ext cx="2547937" cy="461963"/>
          </a:xfrm>
          <a:prstGeom prst="rect">
            <a:avLst/>
          </a:prstGeom>
        </p:spPr>
        <p:txBody>
          <a:bodyPr anchor="ctr" anchorCtr="0"/>
          <a:lstStyle>
            <a:lvl1pPr marL="0" indent="0">
              <a:buFontTx/>
              <a:buNone/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/>
              <a:t>Item 2</a:t>
            </a:r>
          </a:p>
        </p:txBody>
      </p:sp>
      <p:sp>
        <p:nvSpPr>
          <p:cNvPr id="25" name="Text Placeholder 18">
            <a:extLst>
              <a:ext uri="{FF2B5EF4-FFF2-40B4-BE49-F238E27FC236}">
                <a16:creationId xmlns:a16="http://schemas.microsoft.com/office/drawing/2014/main" id="{C56CB44F-A428-A24E-9FD6-03C902B8CB1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178232" y="2915975"/>
            <a:ext cx="2554605" cy="461963"/>
          </a:xfrm>
          <a:prstGeom prst="rect">
            <a:avLst/>
          </a:prstGeom>
        </p:spPr>
        <p:txBody>
          <a:bodyPr anchor="ctr" anchorCtr="0"/>
          <a:lstStyle>
            <a:lvl1pPr marL="0" indent="0">
              <a:buFontTx/>
              <a:buNone/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/>
              <a:t>Item 3</a:t>
            </a:r>
          </a:p>
        </p:txBody>
      </p:sp>
      <p:sp>
        <p:nvSpPr>
          <p:cNvPr id="27" name="Text Placeholder 18">
            <a:extLst>
              <a:ext uri="{FF2B5EF4-FFF2-40B4-BE49-F238E27FC236}">
                <a16:creationId xmlns:a16="http://schemas.microsoft.com/office/drawing/2014/main" id="{4ADD9F6F-04EC-3548-89ED-07083CA31F7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916988" y="2915975"/>
            <a:ext cx="2552700" cy="461963"/>
          </a:xfrm>
          <a:prstGeom prst="rect">
            <a:avLst/>
          </a:prstGeom>
        </p:spPr>
        <p:txBody>
          <a:bodyPr anchor="ctr" anchorCtr="0"/>
          <a:lstStyle>
            <a:lvl1pPr marL="0" indent="0">
              <a:buFontTx/>
              <a:buNone/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/>
              <a:t>Item 4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59572E56-7E01-9B4B-A25B-1F1656B06DE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452813" y="3524344"/>
            <a:ext cx="2547937" cy="2618789"/>
          </a:xfrm>
          <a:prstGeom prst="rect">
            <a:avLst/>
          </a:prstGeom>
        </p:spPr>
        <p:txBody>
          <a:bodyPr tIns="36000"/>
          <a:lstStyle>
            <a:lvl1pPr marL="0" indent="0">
              <a:lnSpc>
                <a:spcPct val="100000"/>
              </a:lnSpc>
              <a:buFontTx/>
              <a:buNone/>
              <a:defRPr sz="24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Example Text</a:t>
            </a:r>
            <a:endParaRPr lang="en-BG"/>
          </a:p>
        </p:txBody>
      </p:sp>
      <p:sp>
        <p:nvSpPr>
          <p:cNvPr id="15" name="Text Placeholder 20">
            <a:extLst>
              <a:ext uri="{FF2B5EF4-FFF2-40B4-BE49-F238E27FC236}">
                <a16:creationId xmlns:a16="http://schemas.microsoft.com/office/drawing/2014/main" id="{526BD833-CFF8-F541-92F8-E3D36BA6D48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83998" y="3532376"/>
            <a:ext cx="2547937" cy="2618789"/>
          </a:xfrm>
          <a:prstGeom prst="rect">
            <a:avLst/>
          </a:prstGeom>
        </p:spPr>
        <p:txBody>
          <a:bodyPr tIns="36000"/>
          <a:lstStyle>
            <a:lvl1pPr marL="0" indent="0">
              <a:lnSpc>
                <a:spcPct val="100000"/>
              </a:lnSpc>
              <a:buFontTx/>
              <a:buNone/>
              <a:defRPr sz="24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Example Text</a:t>
            </a:r>
            <a:endParaRPr lang="en-BG"/>
          </a:p>
        </p:txBody>
      </p:sp>
      <p:sp>
        <p:nvSpPr>
          <p:cNvPr id="16" name="Text Placeholder 20">
            <a:extLst>
              <a:ext uri="{FF2B5EF4-FFF2-40B4-BE49-F238E27FC236}">
                <a16:creationId xmlns:a16="http://schemas.microsoft.com/office/drawing/2014/main" id="{57862449-EC25-604D-A3A7-CE54B563354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916988" y="3524343"/>
            <a:ext cx="2552699" cy="2618789"/>
          </a:xfrm>
          <a:prstGeom prst="rect">
            <a:avLst/>
          </a:prstGeom>
        </p:spPr>
        <p:txBody>
          <a:bodyPr tIns="36000"/>
          <a:lstStyle>
            <a:lvl1pPr marL="0" indent="0">
              <a:lnSpc>
                <a:spcPct val="100000"/>
              </a:lnSpc>
              <a:buFontTx/>
              <a:buNone/>
              <a:defRPr sz="24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Example Text</a:t>
            </a:r>
            <a:endParaRPr lang="en-BG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E42960B-5CFE-4CCC-8A7C-819AB126A4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3599" y="538164"/>
            <a:ext cx="10746087" cy="1370012"/>
          </a:xfrm>
        </p:spPr>
        <p:txBody>
          <a:bodyPr vert="horz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4 Items / Features </a:t>
            </a:r>
            <a:br>
              <a:rPr lang="en-US"/>
            </a:br>
            <a:r>
              <a:rPr lang="en-US"/>
              <a:t>Illustrated Bullet List</a:t>
            </a:r>
          </a:p>
        </p:txBody>
      </p:sp>
    </p:spTree>
    <p:extLst>
      <p:ext uri="{BB962C8B-B14F-4D97-AF65-F5344CB8AC3E}">
        <p14:creationId xmlns:p14="http://schemas.microsoft.com/office/powerpoint/2010/main" val="283188014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items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E63340-CFC6-4DE4-A808-EF24C62FF7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953691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E63340-CFC6-4DE4-A808-EF24C62FF7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E8466CBF-EFEB-BF4E-8EF1-DA6DA515FFA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53741" y="2624943"/>
            <a:ext cx="2627733" cy="1332541"/>
          </a:xfrm>
          <a:prstGeom prst="rect">
            <a:avLst/>
          </a:prstGeom>
        </p:spPr>
        <p:txBody>
          <a:bodyPr tIns="36000"/>
          <a:lstStyle>
            <a:lvl1pPr marL="0" indent="0">
              <a:lnSpc>
                <a:spcPct val="100000"/>
              </a:lnSpc>
              <a:buFontTx/>
              <a:buNone/>
              <a:defRPr sz="20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Example Text</a:t>
            </a:r>
            <a:endParaRPr lang="en-BG"/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D5DD337E-FCEB-8848-9F17-4A7948DB856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53741" y="2037104"/>
            <a:ext cx="2627733" cy="416859"/>
          </a:xfrm>
          <a:prstGeom prst="rect">
            <a:avLst/>
          </a:prstGeom>
        </p:spPr>
        <p:txBody>
          <a:bodyPr anchor="ctr" anchorCtr="0"/>
          <a:lstStyle>
            <a:lvl1pPr marL="0" indent="0">
              <a:buFontTx/>
              <a:buNone/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/>
              <a:t>Feature</a:t>
            </a:r>
          </a:p>
        </p:txBody>
      </p:sp>
      <p:sp>
        <p:nvSpPr>
          <p:cNvPr id="9" name="Text Placeholder 18">
            <a:extLst>
              <a:ext uri="{FF2B5EF4-FFF2-40B4-BE49-F238E27FC236}">
                <a16:creationId xmlns:a16="http://schemas.microsoft.com/office/drawing/2014/main" id="{802B59A1-B3EF-2645-B49B-4D774FF780B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553741" y="4328800"/>
            <a:ext cx="2627733" cy="416859"/>
          </a:xfrm>
          <a:prstGeom prst="rect">
            <a:avLst/>
          </a:prstGeom>
        </p:spPr>
        <p:txBody>
          <a:bodyPr anchor="ctr" anchorCtr="0"/>
          <a:lstStyle>
            <a:lvl1pPr marL="0" indent="0">
              <a:buFontTx/>
              <a:buNone/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/>
              <a:t>Feature</a:t>
            </a:r>
          </a:p>
        </p:txBody>
      </p:sp>
      <p:sp>
        <p:nvSpPr>
          <p:cNvPr id="11" name="Text Placeholder 18">
            <a:extLst>
              <a:ext uri="{FF2B5EF4-FFF2-40B4-BE49-F238E27FC236}">
                <a16:creationId xmlns:a16="http://schemas.microsoft.com/office/drawing/2014/main" id="{76935810-7504-4B45-83F9-2E99FFE8E0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86627" y="2037104"/>
            <a:ext cx="2634018" cy="416859"/>
          </a:xfrm>
          <a:prstGeom prst="rect">
            <a:avLst/>
          </a:prstGeom>
        </p:spPr>
        <p:txBody>
          <a:bodyPr anchor="ctr" anchorCtr="0"/>
          <a:lstStyle>
            <a:lvl1pPr marL="0" indent="0">
              <a:buFontTx/>
              <a:buNone/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/>
              <a:t>Feature</a:t>
            </a:r>
          </a:p>
        </p:txBody>
      </p:sp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AB2FAA5E-B4A1-764E-B89C-0F89E86576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186627" y="4328800"/>
            <a:ext cx="2634018" cy="416859"/>
          </a:xfrm>
          <a:prstGeom prst="rect">
            <a:avLst/>
          </a:prstGeom>
        </p:spPr>
        <p:txBody>
          <a:bodyPr anchor="ctr" anchorCtr="0"/>
          <a:lstStyle>
            <a:lvl1pPr marL="0" indent="0">
              <a:buFontTx/>
              <a:buNone/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/>
              <a:t>Feature</a:t>
            </a:r>
          </a:p>
        </p:txBody>
      </p:sp>
      <p:sp>
        <p:nvSpPr>
          <p:cNvPr id="15" name="Text Placeholder 18">
            <a:extLst>
              <a:ext uri="{FF2B5EF4-FFF2-40B4-BE49-F238E27FC236}">
                <a16:creationId xmlns:a16="http://schemas.microsoft.com/office/drawing/2014/main" id="{580FC978-AF1C-5244-BA36-D990852E29C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840896" y="2037104"/>
            <a:ext cx="2628792" cy="416859"/>
          </a:xfrm>
          <a:prstGeom prst="rect">
            <a:avLst/>
          </a:prstGeom>
        </p:spPr>
        <p:txBody>
          <a:bodyPr anchor="ctr" anchorCtr="0"/>
          <a:lstStyle>
            <a:lvl1pPr marL="0" indent="0">
              <a:buFontTx/>
              <a:buNone/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/>
              <a:t>Feature</a:t>
            </a:r>
          </a:p>
        </p:txBody>
      </p:sp>
      <p:sp>
        <p:nvSpPr>
          <p:cNvPr id="17" name="Text Placeholder 18">
            <a:extLst>
              <a:ext uri="{FF2B5EF4-FFF2-40B4-BE49-F238E27FC236}">
                <a16:creationId xmlns:a16="http://schemas.microsoft.com/office/drawing/2014/main" id="{5DB8FC56-8E45-B642-BA86-CA674617E8D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840896" y="4328800"/>
            <a:ext cx="2628792" cy="416859"/>
          </a:xfrm>
          <a:prstGeom prst="rect">
            <a:avLst/>
          </a:prstGeom>
        </p:spPr>
        <p:txBody>
          <a:bodyPr anchor="ctr" anchorCtr="0"/>
          <a:lstStyle>
            <a:lvl1pPr marL="0" indent="0">
              <a:buFontTx/>
              <a:buNone/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/>
              <a:t>Feature</a:t>
            </a:r>
          </a:p>
        </p:txBody>
      </p:sp>
      <p:sp>
        <p:nvSpPr>
          <p:cNvPr id="19" name="Text Placeholder 20">
            <a:extLst>
              <a:ext uri="{FF2B5EF4-FFF2-40B4-BE49-F238E27FC236}">
                <a16:creationId xmlns:a16="http://schemas.microsoft.com/office/drawing/2014/main" id="{F4FDECCA-8BA0-1E46-959C-40D405A3DD8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86627" y="2624943"/>
            <a:ext cx="2627733" cy="1332541"/>
          </a:xfrm>
          <a:prstGeom prst="rect">
            <a:avLst/>
          </a:prstGeom>
        </p:spPr>
        <p:txBody>
          <a:bodyPr tIns="36000"/>
          <a:lstStyle>
            <a:lvl1pPr marL="0" indent="0">
              <a:lnSpc>
                <a:spcPct val="100000"/>
              </a:lnSpc>
              <a:buFontTx/>
              <a:buNone/>
              <a:defRPr sz="20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Example Text</a:t>
            </a:r>
            <a:endParaRPr lang="en-BG"/>
          </a:p>
        </p:txBody>
      </p:sp>
      <p:sp>
        <p:nvSpPr>
          <p:cNvPr id="20" name="Text Placeholder 20">
            <a:extLst>
              <a:ext uri="{FF2B5EF4-FFF2-40B4-BE49-F238E27FC236}">
                <a16:creationId xmlns:a16="http://schemas.microsoft.com/office/drawing/2014/main" id="{1D615094-1A97-4D44-963D-B6646A38C7A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840896" y="2624943"/>
            <a:ext cx="2627733" cy="1332541"/>
          </a:xfrm>
          <a:prstGeom prst="rect">
            <a:avLst/>
          </a:prstGeom>
        </p:spPr>
        <p:txBody>
          <a:bodyPr tIns="36000"/>
          <a:lstStyle>
            <a:lvl1pPr marL="0" indent="0">
              <a:lnSpc>
                <a:spcPct val="100000"/>
              </a:lnSpc>
              <a:buFontTx/>
              <a:buNone/>
              <a:defRPr sz="20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Example Text</a:t>
            </a:r>
            <a:endParaRPr lang="en-BG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AC0DC2E1-3303-ED4F-AF0A-C83B26F853C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53741" y="4923617"/>
            <a:ext cx="2627733" cy="1396220"/>
          </a:xfrm>
          <a:prstGeom prst="rect">
            <a:avLst/>
          </a:prstGeom>
        </p:spPr>
        <p:txBody>
          <a:bodyPr tIns="36000"/>
          <a:lstStyle>
            <a:lvl1pPr marL="0" indent="0">
              <a:lnSpc>
                <a:spcPct val="100000"/>
              </a:lnSpc>
              <a:buFontTx/>
              <a:buNone/>
              <a:defRPr sz="20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Example Text</a:t>
            </a:r>
            <a:endParaRPr lang="en-BG"/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3234F23D-C765-1C43-8BE8-B63E9013F02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186627" y="4923617"/>
            <a:ext cx="2627733" cy="1396220"/>
          </a:xfrm>
          <a:prstGeom prst="rect">
            <a:avLst/>
          </a:prstGeom>
        </p:spPr>
        <p:txBody>
          <a:bodyPr tIns="36000"/>
          <a:lstStyle>
            <a:lvl1pPr marL="0" indent="0">
              <a:lnSpc>
                <a:spcPct val="100000"/>
              </a:lnSpc>
              <a:buFontTx/>
              <a:buNone/>
              <a:defRPr sz="20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Example Text</a:t>
            </a:r>
            <a:endParaRPr lang="en-BG"/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38C0BF57-A485-B741-AAB8-63E6E654704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0896" y="4923617"/>
            <a:ext cx="2627733" cy="1396220"/>
          </a:xfrm>
          <a:prstGeom prst="rect">
            <a:avLst/>
          </a:prstGeom>
        </p:spPr>
        <p:txBody>
          <a:bodyPr tIns="36000"/>
          <a:lstStyle>
            <a:lvl1pPr marL="0" indent="0">
              <a:lnSpc>
                <a:spcPct val="100000"/>
              </a:lnSpc>
              <a:buFontTx/>
              <a:buNone/>
              <a:defRPr sz="20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Example Text</a:t>
            </a:r>
            <a:endParaRPr lang="en-BG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9FF33FF-9B6D-41BF-97A6-EF8D86B8BD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3599" y="538163"/>
            <a:ext cx="10745029" cy="1370012"/>
          </a:xfrm>
        </p:spPr>
        <p:txBody>
          <a:bodyPr vert="horz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6 Items / Features Illustrated Bullet List</a:t>
            </a:r>
          </a:p>
        </p:txBody>
      </p:sp>
    </p:spTree>
    <p:extLst>
      <p:ext uri="{BB962C8B-B14F-4D97-AF65-F5344CB8AC3E}">
        <p14:creationId xmlns:p14="http://schemas.microsoft.com/office/powerpoint/2010/main" val="222888040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D63911BD-CC85-5881-37CD-50823D6CCDE2}"/>
              </a:ext>
            </a:extLst>
          </p:cNvPr>
          <p:cNvSpPr/>
          <p:nvPr userDrawn="1"/>
        </p:nvSpPr>
        <p:spPr>
          <a:xfrm>
            <a:off x="-7144" y="-3486"/>
            <a:ext cx="12192000" cy="2226365"/>
          </a:xfrm>
          <a:prstGeom prst="rect">
            <a:avLst/>
          </a:prstGeom>
          <a:solidFill>
            <a:srgbClr val="4B4BF7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G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701C7A36-BD91-20DC-B509-02D0CFF1D1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6" t="-1" r="1" b="9"/>
          <a:stretch/>
        </p:blipFill>
        <p:spPr>
          <a:xfrm>
            <a:off x="-15308" y="1"/>
            <a:ext cx="12207307" cy="6857999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563D3286-D04A-559A-5913-4D8C58592F47}"/>
              </a:ext>
            </a:extLst>
          </p:cNvPr>
          <p:cNvSpPr txBox="1">
            <a:spLocks/>
          </p:cNvSpPr>
          <p:nvPr userDrawn="1"/>
        </p:nvSpPr>
        <p:spPr>
          <a:xfrm>
            <a:off x="722313" y="538163"/>
            <a:ext cx="10747374" cy="795337"/>
          </a:xfrm>
          <a:prstGeom prst="rect">
            <a:avLst/>
          </a:prstGeom>
        </p:spPr>
        <p:txBody>
          <a:bodyPr vert="horz" lIns="0" tIns="10800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 spc="-100" baseline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en-US">
              <a:solidFill>
                <a:schemeClr val="bg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3BC0E37-DE45-5782-F8E1-ED4CDE53B4CF}"/>
              </a:ext>
            </a:extLst>
          </p:cNvPr>
          <p:cNvSpPr txBox="1"/>
          <p:nvPr userDrawn="1"/>
        </p:nvSpPr>
        <p:spPr>
          <a:xfrm>
            <a:off x="3557305" y="6554397"/>
            <a:ext cx="3177152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600" b="0" spc="0" baseline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4 </a:t>
            </a:r>
            <a:r>
              <a:rPr lang="en-US" sz="600" b="0" i="0" spc="0" baseline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r>
              <a:rPr lang="en-US" sz="600" b="0" spc="0" baseline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ftware Corporation and/or its subsidiaries or affiliates. All rights reserved.</a:t>
            </a:r>
          </a:p>
        </p:txBody>
      </p:sp>
      <p:pic>
        <p:nvPicPr>
          <p:cNvPr id="7" name="Picture 3">
            <a:extLst>
              <a:ext uri="{FF2B5EF4-FFF2-40B4-BE49-F238E27FC236}">
                <a16:creationId xmlns:a16="http://schemas.microsoft.com/office/drawing/2014/main" id="{965BAB98-D402-B9AF-0734-CAD6568059C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494075" y="6445423"/>
            <a:ext cx="939600" cy="217948"/>
          </a:xfrm>
          <a:prstGeom prst="rect">
            <a:avLst/>
          </a:prstGeom>
        </p:spPr>
      </p:pic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79FE93C3-7205-2278-128A-0ADFC952B52A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6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0" i="0" dirty="0" smtClean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0" i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Placeholder 7">
            <a:extLst>
              <a:ext uri="{FF2B5EF4-FFF2-40B4-BE49-F238E27FC236}">
                <a16:creationId xmlns:a16="http://schemas.microsoft.com/office/drawing/2014/main" id="{63045F9B-4071-B046-2A01-7BC45A7310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3" y="538163"/>
            <a:ext cx="10747374" cy="1139825"/>
          </a:xfrm>
          <a:prstGeom prst="rect">
            <a:avLst/>
          </a:prstGeom>
        </p:spPr>
        <p:txBody>
          <a:bodyPr vert="horz" lIns="0" tIns="10800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BG"/>
          </a:p>
        </p:txBody>
      </p:sp>
    </p:spTree>
    <p:extLst>
      <p:ext uri="{BB962C8B-B14F-4D97-AF65-F5344CB8AC3E}">
        <p14:creationId xmlns:p14="http://schemas.microsoft.com/office/powerpoint/2010/main" val="282091567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D63911BD-CC85-5881-37CD-50823D6CCDE2}"/>
              </a:ext>
            </a:extLst>
          </p:cNvPr>
          <p:cNvSpPr/>
          <p:nvPr userDrawn="1"/>
        </p:nvSpPr>
        <p:spPr>
          <a:xfrm>
            <a:off x="-3970" y="-18206"/>
            <a:ext cx="12195969" cy="2241086"/>
          </a:xfrm>
          <a:prstGeom prst="rect">
            <a:avLst/>
          </a:prstGeom>
          <a:solidFill>
            <a:srgbClr val="2A22B5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G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563D3286-D04A-559A-5913-4D8C58592F47}"/>
              </a:ext>
            </a:extLst>
          </p:cNvPr>
          <p:cNvSpPr txBox="1">
            <a:spLocks/>
          </p:cNvSpPr>
          <p:nvPr userDrawn="1"/>
        </p:nvSpPr>
        <p:spPr>
          <a:xfrm>
            <a:off x="722313" y="538163"/>
            <a:ext cx="10747374" cy="795337"/>
          </a:xfrm>
          <a:prstGeom prst="rect">
            <a:avLst/>
          </a:prstGeom>
        </p:spPr>
        <p:txBody>
          <a:bodyPr vert="horz" lIns="0" tIns="10800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 spc="-100" baseline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en-US">
              <a:solidFill>
                <a:schemeClr val="bg1"/>
              </a:solidFill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4EAB9537-9ED9-7ADF-BBA8-DDFFDB2D0D0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67852"/>
          <a:stretch/>
        </p:blipFill>
        <p:spPr>
          <a:xfrm>
            <a:off x="-85459" y="-18205"/>
            <a:ext cx="12277458" cy="2241086"/>
          </a:xfrm>
          <a:prstGeom prst="rect">
            <a:avLst/>
          </a:prstGeom>
        </p:spPr>
      </p:pic>
      <p:sp>
        <p:nvSpPr>
          <p:cNvPr id="10" name="Title Placeholder 7">
            <a:extLst>
              <a:ext uri="{FF2B5EF4-FFF2-40B4-BE49-F238E27FC236}">
                <a16:creationId xmlns:a16="http://schemas.microsoft.com/office/drawing/2014/main" id="{31AE144F-D510-93AE-20DC-72A3015E55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3" y="538163"/>
            <a:ext cx="10747374" cy="1139825"/>
          </a:xfrm>
          <a:prstGeom prst="rect">
            <a:avLst/>
          </a:prstGeom>
        </p:spPr>
        <p:txBody>
          <a:bodyPr vert="horz" lIns="0" tIns="10800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BG"/>
          </a:p>
        </p:txBody>
      </p:sp>
    </p:spTree>
    <p:extLst>
      <p:ext uri="{BB962C8B-B14F-4D97-AF65-F5344CB8AC3E}">
        <p14:creationId xmlns:p14="http://schemas.microsoft.com/office/powerpoint/2010/main" val="218293564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50A185E-36CF-4174-E22E-C3E123971098}"/>
              </a:ext>
            </a:extLst>
          </p:cNvPr>
          <p:cNvSpPr/>
          <p:nvPr userDrawn="1"/>
        </p:nvSpPr>
        <p:spPr>
          <a:xfrm>
            <a:off x="0" y="0"/>
            <a:ext cx="12192000" cy="1727200"/>
          </a:xfrm>
          <a:prstGeom prst="rect">
            <a:avLst/>
          </a:prstGeom>
          <a:solidFill>
            <a:schemeClr val="accent2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G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0F6959AA-6841-DCE9-C3D1-0916E8E5E50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1727200"/>
          </a:xfrm>
          <a:prstGeom prst="rect">
            <a:avLst/>
          </a:prstGeom>
        </p:spPr>
      </p:pic>
      <p:sp>
        <p:nvSpPr>
          <p:cNvPr id="19" name="Text Placeholder 20">
            <a:extLst>
              <a:ext uri="{FF2B5EF4-FFF2-40B4-BE49-F238E27FC236}">
                <a16:creationId xmlns:a16="http://schemas.microsoft.com/office/drawing/2014/main" id="{E90CBC2F-2FE6-E849-A23E-6624002BB1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2313" y="5162992"/>
            <a:ext cx="2526055" cy="864746"/>
          </a:xfrm>
          <a:prstGeom prst="rect">
            <a:avLst/>
          </a:prstGeom>
        </p:spPr>
        <p:txBody>
          <a:bodyPr tIns="36000"/>
          <a:lstStyle>
            <a:lvl1pPr marL="0" indent="0" algn="ctr">
              <a:lnSpc>
                <a:spcPts val="1800"/>
              </a:lnSpc>
              <a:buFontTx/>
              <a:buNone/>
              <a:defRPr sz="18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Position</a:t>
            </a:r>
            <a:endParaRPr lang="en-BG"/>
          </a:p>
        </p:txBody>
      </p:sp>
      <p:sp>
        <p:nvSpPr>
          <p:cNvPr id="21" name="Text Placeholder 18">
            <a:extLst>
              <a:ext uri="{FF2B5EF4-FFF2-40B4-BE49-F238E27FC236}">
                <a16:creationId xmlns:a16="http://schemas.microsoft.com/office/drawing/2014/main" id="{BEF25CF4-59B3-BE42-81BA-5E46207363B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22313" y="4651970"/>
            <a:ext cx="2526055" cy="461594"/>
          </a:xfrm>
          <a:prstGeom prst="rect">
            <a:avLst/>
          </a:prstGeom>
        </p:spPr>
        <p:txBody>
          <a:bodyPr tIns="72000" anchor="ctr" anchorCtr="0"/>
          <a:lstStyle>
            <a:lvl1pPr marL="0" indent="0" algn="ctr">
              <a:lnSpc>
                <a:spcPct val="80000"/>
              </a:lnSpc>
              <a:buFontTx/>
              <a:buNone/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/>
              <a:t>Name 1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B435FD64-44C1-0E48-B5ED-A66844CC2EA7}"/>
              </a:ext>
            </a:extLst>
          </p:cNvPr>
          <p:cNvSpPr txBox="1"/>
          <p:nvPr userDrawn="1"/>
        </p:nvSpPr>
        <p:spPr>
          <a:xfrm>
            <a:off x="1742303" y="4893276"/>
            <a:ext cx="0" cy="0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 algn="l"/>
            <a:endParaRPr lang="en-BG" sz="20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Text Placeholder 20">
            <a:extLst>
              <a:ext uri="{FF2B5EF4-FFF2-40B4-BE49-F238E27FC236}">
                <a16:creationId xmlns:a16="http://schemas.microsoft.com/office/drawing/2014/main" id="{70B6830F-8A50-3147-B040-0115CA5BF87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53156" y="5162992"/>
            <a:ext cx="2547594" cy="864746"/>
          </a:xfrm>
          <a:prstGeom prst="rect">
            <a:avLst/>
          </a:prstGeom>
        </p:spPr>
        <p:txBody>
          <a:bodyPr tIns="36000"/>
          <a:lstStyle>
            <a:lvl1pPr marL="0" indent="0" algn="ctr">
              <a:lnSpc>
                <a:spcPts val="1800"/>
              </a:lnSpc>
              <a:buFontTx/>
              <a:buNone/>
              <a:defRPr sz="18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Position</a:t>
            </a:r>
            <a:endParaRPr lang="en-BG"/>
          </a:p>
        </p:txBody>
      </p:sp>
      <p:sp>
        <p:nvSpPr>
          <p:cNvPr id="31" name="Text Placeholder 18">
            <a:extLst>
              <a:ext uri="{FF2B5EF4-FFF2-40B4-BE49-F238E27FC236}">
                <a16:creationId xmlns:a16="http://schemas.microsoft.com/office/drawing/2014/main" id="{FC91BA71-069A-8F4D-80E2-C8697BB4234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53156" y="4651970"/>
            <a:ext cx="2547594" cy="461594"/>
          </a:xfrm>
          <a:prstGeom prst="rect">
            <a:avLst/>
          </a:prstGeom>
        </p:spPr>
        <p:txBody>
          <a:bodyPr tIns="72000" anchor="ctr" anchorCtr="0"/>
          <a:lstStyle>
            <a:lvl1pPr marL="0" indent="0" algn="ctr">
              <a:lnSpc>
                <a:spcPct val="80000"/>
              </a:lnSpc>
              <a:buFontTx/>
              <a:buNone/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/>
              <a:t>Name 2</a:t>
            </a:r>
          </a:p>
        </p:txBody>
      </p:sp>
      <p:sp>
        <p:nvSpPr>
          <p:cNvPr id="32" name="Text Placeholder 20">
            <a:extLst>
              <a:ext uri="{FF2B5EF4-FFF2-40B4-BE49-F238E27FC236}">
                <a16:creationId xmlns:a16="http://schemas.microsoft.com/office/drawing/2014/main" id="{05787F03-F6FF-FC4D-9ED1-40A7F50C89F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84000" y="5162992"/>
            <a:ext cx="2548838" cy="864746"/>
          </a:xfrm>
          <a:prstGeom prst="rect">
            <a:avLst/>
          </a:prstGeom>
        </p:spPr>
        <p:txBody>
          <a:bodyPr tIns="36000"/>
          <a:lstStyle>
            <a:lvl1pPr marL="0" indent="0" algn="ctr">
              <a:lnSpc>
                <a:spcPts val="1800"/>
              </a:lnSpc>
              <a:buFontTx/>
              <a:buNone/>
              <a:defRPr sz="18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Position</a:t>
            </a:r>
            <a:endParaRPr lang="en-BG"/>
          </a:p>
        </p:txBody>
      </p:sp>
      <p:sp>
        <p:nvSpPr>
          <p:cNvPr id="33" name="Text Placeholder 18">
            <a:extLst>
              <a:ext uri="{FF2B5EF4-FFF2-40B4-BE49-F238E27FC236}">
                <a16:creationId xmlns:a16="http://schemas.microsoft.com/office/drawing/2014/main" id="{5616BBF2-7973-DE49-9FF2-B67B2FF846B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184000" y="4651970"/>
            <a:ext cx="2548838" cy="461594"/>
          </a:xfrm>
          <a:prstGeom prst="rect">
            <a:avLst/>
          </a:prstGeom>
        </p:spPr>
        <p:txBody>
          <a:bodyPr tIns="72000" anchor="ctr" anchorCtr="0"/>
          <a:lstStyle>
            <a:lvl1pPr marL="0" indent="0" algn="ctr">
              <a:lnSpc>
                <a:spcPct val="80000"/>
              </a:lnSpc>
              <a:buFontTx/>
              <a:buNone/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/>
              <a:t>Name 3</a:t>
            </a:r>
          </a:p>
        </p:txBody>
      </p:sp>
      <p:sp>
        <p:nvSpPr>
          <p:cNvPr id="34" name="Text Placeholder 20">
            <a:extLst>
              <a:ext uri="{FF2B5EF4-FFF2-40B4-BE49-F238E27FC236}">
                <a16:creationId xmlns:a16="http://schemas.microsoft.com/office/drawing/2014/main" id="{6AD7FE0B-1E24-264D-AA5F-C85BAFD01DD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916988" y="5162992"/>
            <a:ext cx="2552700" cy="864746"/>
          </a:xfrm>
          <a:prstGeom prst="rect">
            <a:avLst/>
          </a:prstGeom>
        </p:spPr>
        <p:txBody>
          <a:bodyPr tIns="36000"/>
          <a:lstStyle>
            <a:lvl1pPr marL="0" indent="0" algn="ctr">
              <a:lnSpc>
                <a:spcPts val="1800"/>
              </a:lnSpc>
              <a:buFontTx/>
              <a:buNone/>
              <a:defRPr sz="18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Position</a:t>
            </a:r>
            <a:endParaRPr lang="en-BG"/>
          </a:p>
        </p:txBody>
      </p:sp>
      <p:sp>
        <p:nvSpPr>
          <p:cNvPr id="35" name="Text Placeholder 18">
            <a:extLst>
              <a:ext uri="{FF2B5EF4-FFF2-40B4-BE49-F238E27FC236}">
                <a16:creationId xmlns:a16="http://schemas.microsoft.com/office/drawing/2014/main" id="{FE495FE2-22D3-FB42-AF76-F86CF0F945E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916988" y="4651970"/>
            <a:ext cx="2552700" cy="461594"/>
          </a:xfrm>
          <a:prstGeom prst="rect">
            <a:avLst/>
          </a:prstGeom>
        </p:spPr>
        <p:txBody>
          <a:bodyPr tIns="72000" anchor="ctr" anchorCtr="0"/>
          <a:lstStyle>
            <a:lvl1pPr marL="0" indent="0" algn="ctr">
              <a:lnSpc>
                <a:spcPct val="80000"/>
              </a:lnSpc>
              <a:buFontTx/>
              <a:buNone/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/>
              <a:t>Name 4</a:t>
            </a:r>
          </a:p>
        </p:txBody>
      </p:sp>
      <p:sp>
        <p:nvSpPr>
          <p:cNvPr id="18" name="Picture Placeholder 1">
            <a:extLst>
              <a:ext uri="{FF2B5EF4-FFF2-40B4-BE49-F238E27FC236}">
                <a16:creationId xmlns:a16="http://schemas.microsoft.com/office/drawing/2014/main" id="{0331D3FB-3327-7240-B6AA-7B62FBBF4CFC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953134" y="2355867"/>
            <a:ext cx="2062128" cy="2062128"/>
          </a:xfrm>
          <a:prstGeom prst="ellipse">
            <a:avLst/>
          </a:prstGeom>
          <a:solidFill>
            <a:srgbClr val="DDE9F7"/>
          </a:solidFill>
        </p:spPr>
        <p:txBody>
          <a:bodyPr/>
          <a:lstStyle>
            <a:lvl1pPr marL="0" indent="0" algn="ctr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hr-HR"/>
              <a:t>Picture</a:t>
            </a:r>
            <a:endParaRPr lang="en-US"/>
          </a:p>
        </p:txBody>
      </p:sp>
      <p:sp>
        <p:nvSpPr>
          <p:cNvPr id="20" name="Picture Placeholder 1">
            <a:extLst>
              <a:ext uri="{FF2B5EF4-FFF2-40B4-BE49-F238E27FC236}">
                <a16:creationId xmlns:a16="http://schemas.microsoft.com/office/drawing/2014/main" id="{C95E4137-4213-BE4A-9909-08534641CCEE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3694831" y="2355867"/>
            <a:ext cx="2062127" cy="2062127"/>
          </a:xfrm>
          <a:prstGeom prst="ellipse">
            <a:avLst/>
          </a:prstGeom>
          <a:solidFill>
            <a:srgbClr val="DDE9F7"/>
          </a:solidFill>
        </p:spPr>
        <p:txBody>
          <a:bodyPr/>
          <a:lstStyle>
            <a:lvl1pPr marL="0" indent="0" algn="ctr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hr-HR"/>
              <a:t>Picture</a:t>
            </a:r>
            <a:endParaRPr lang="en-US"/>
          </a:p>
        </p:txBody>
      </p:sp>
      <p:sp>
        <p:nvSpPr>
          <p:cNvPr id="23" name="Picture Placeholder 1">
            <a:extLst>
              <a:ext uri="{FF2B5EF4-FFF2-40B4-BE49-F238E27FC236}">
                <a16:creationId xmlns:a16="http://schemas.microsoft.com/office/drawing/2014/main" id="{5FCAAEDD-145E-714F-8193-C07FFCB234C5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6435044" y="2344391"/>
            <a:ext cx="2073604" cy="2073604"/>
          </a:xfrm>
          <a:prstGeom prst="ellipse">
            <a:avLst/>
          </a:prstGeom>
          <a:solidFill>
            <a:srgbClr val="DDE9F7"/>
          </a:solidFill>
        </p:spPr>
        <p:txBody>
          <a:bodyPr/>
          <a:lstStyle>
            <a:lvl1pPr marL="0" indent="0" algn="ctr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hr-HR"/>
              <a:t>Picture</a:t>
            </a:r>
            <a:endParaRPr lang="en-US"/>
          </a:p>
        </p:txBody>
      </p:sp>
      <p:sp>
        <p:nvSpPr>
          <p:cNvPr id="24" name="Picture Placeholder 1">
            <a:extLst>
              <a:ext uri="{FF2B5EF4-FFF2-40B4-BE49-F238E27FC236}">
                <a16:creationId xmlns:a16="http://schemas.microsoft.com/office/drawing/2014/main" id="{21AE5383-EC13-FE4D-996B-BE10161B0155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9157330" y="2344391"/>
            <a:ext cx="2073603" cy="2073603"/>
          </a:xfrm>
          <a:prstGeom prst="ellipse">
            <a:avLst/>
          </a:prstGeom>
          <a:solidFill>
            <a:srgbClr val="DDE9F7"/>
          </a:solidFill>
        </p:spPr>
        <p:txBody>
          <a:bodyPr/>
          <a:lstStyle>
            <a:lvl1pPr marL="0" indent="0" algn="ctr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hr-HR"/>
              <a:t>Picture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7A7DD63-67DB-1DD6-5B09-ECD0AC44EE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56782" y="574918"/>
            <a:ext cx="5278437" cy="684212"/>
          </a:xfrm>
          <a:prstGeom prst="rect">
            <a:avLst/>
          </a:prstGeom>
        </p:spPr>
        <p:txBody>
          <a:bodyPr tIns="108000" anchor="t">
            <a:noAutofit/>
          </a:bodyPr>
          <a:lstStyle>
            <a:lvl1pPr algn="ctr">
              <a:lnSpc>
                <a:spcPct val="85000"/>
              </a:lnSpc>
              <a:defRPr lang="en-US" sz="4000" b="1" i="0" kern="0" spc="-100" baseline="0" noProof="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/>
              <a:t>Team</a:t>
            </a:r>
          </a:p>
        </p:txBody>
      </p:sp>
    </p:spTree>
    <p:extLst>
      <p:ext uri="{BB962C8B-B14F-4D97-AF65-F5344CB8AC3E}">
        <p14:creationId xmlns:p14="http://schemas.microsoft.com/office/powerpoint/2010/main" val="419303599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2287B1-B399-4ED6-9191-9832616F1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1322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2287B1-B399-4ED6-9191-9832616F1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7">
            <a:extLst>
              <a:ext uri="{FF2B5EF4-FFF2-40B4-BE49-F238E27FC236}">
                <a16:creationId xmlns:a16="http://schemas.microsoft.com/office/drawing/2014/main" id="{97D07DB7-7D51-724B-BE5C-77B45E5DBA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23722" y="826839"/>
            <a:ext cx="5545964" cy="893189"/>
          </a:xfrm>
          <a:prstGeom prst="rect">
            <a:avLst/>
          </a:prstGeom>
        </p:spPr>
        <p:txBody>
          <a:bodyPr vert="horz" lIns="0" tIns="108000" rIns="0" bIns="0" rtlCol="0" anchor="t" anchorCtr="0">
            <a:noAutofit/>
          </a:bodyPr>
          <a:lstStyle/>
          <a:p>
            <a:r>
              <a:rPr lang="en-GB"/>
              <a:t>Name Surname</a:t>
            </a:r>
            <a:endParaRPr lang="en-BG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D5627746-B38D-97E9-850E-555A4176B5DB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6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0" i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0" i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2">
            <a:hlinkClick r:id="rId5"/>
            <a:extLst>
              <a:ext uri="{FF2B5EF4-FFF2-40B4-BE49-F238E27FC236}">
                <a16:creationId xmlns:a16="http://schemas.microsoft.com/office/drawing/2014/main" id="{4BB347AD-D128-4D84-46CF-37C37662B1C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494075" y="6453499"/>
            <a:ext cx="939600" cy="21794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EE63AA0A-B306-65ED-E3C1-8084A7F8B454}"/>
              </a:ext>
            </a:extLst>
          </p:cNvPr>
          <p:cNvSpPr txBox="1"/>
          <p:nvPr userDrawn="1"/>
        </p:nvSpPr>
        <p:spPr>
          <a:xfrm>
            <a:off x="5001500" y="6554396"/>
            <a:ext cx="3177152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600" b="0" spc="0" baseline="0">
                <a:solidFill>
                  <a:srgbClr val="7F7F7F"/>
                </a:solidFill>
                <a:latin typeface="Arial"/>
                <a:cs typeface="Arial"/>
              </a:rPr>
              <a:t>© </a:t>
            </a:r>
            <a:r>
              <a:rPr lang="en-US" sz="600">
                <a:solidFill>
                  <a:srgbClr val="7F7F7F"/>
                </a:solidFill>
                <a:latin typeface="Arial"/>
                <a:cs typeface="Arial"/>
              </a:rPr>
              <a:t>2024</a:t>
            </a:r>
            <a:r>
              <a:rPr lang="en-US" sz="600" b="0" spc="0" baseline="0">
                <a:solidFill>
                  <a:srgbClr val="7F7F7F"/>
                </a:solidFill>
                <a:latin typeface="Arial"/>
                <a:cs typeface="Arial"/>
              </a:rPr>
              <a:t> </a:t>
            </a:r>
            <a:r>
              <a:rPr lang="en-US" sz="600" b="0" i="0" spc="0" baseline="0">
                <a:solidFill>
                  <a:srgbClr val="7F7F7F"/>
                </a:solidFill>
                <a:latin typeface="Arial"/>
                <a:cs typeface="Arial"/>
              </a:rPr>
              <a:t>Progress</a:t>
            </a:r>
            <a:r>
              <a:rPr lang="en-US" sz="600" b="0" spc="0" baseline="0">
                <a:solidFill>
                  <a:srgbClr val="7F7F7F"/>
                </a:solidFill>
                <a:latin typeface="Arial"/>
                <a:cs typeface="Arial"/>
              </a:rPr>
              <a:t> Software Corporation and/or its subsidiaries or affiliates. All rights reserved.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BC1D4EB1-7C2A-BD4C-8F7A-E96B43158FE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923723" y="2495228"/>
            <a:ext cx="5545964" cy="373412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3EC1BCC7-161D-49C5-0B42-91DD6237AB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8904"/>
          <a:stretch/>
        </p:blipFill>
        <p:spPr>
          <a:xfrm>
            <a:off x="0" y="0"/>
            <a:ext cx="4507424" cy="6858000"/>
          </a:xfrm>
          <a:prstGeom prst="rect">
            <a:avLst/>
          </a:prstGeom>
        </p:spPr>
      </p:pic>
      <p:pic>
        <p:nvPicPr>
          <p:cNvPr id="11" name="Picture 3">
            <a:extLst>
              <a:ext uri="{FF2B5EF4-FFF2-40B4-BE49-F238E27FC236}">
                <a16:creationId xmlns:a16="http://schemas.microsoft.com/office/drawing/2014/main" id="{B6F6E7F4-1555-9F77-6ABA-60A04808A259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494075" y="6445423"/>
            <a:ext cx="939600" cy="217948"/>
          </a:xfrm>
          <a:prstGeom prst="rect">
            <a:avLst/>
          </a:prstGeom>
        </p:spPr>
      </p:pic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CC987FAB-944C-48DF-1F53-E51F20E6044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923722" y="1828887"/>
            <a:ext cx="5545964" cy="432373"/>
          </a:xfrm>
          <a:prstGeom prst="rect">
            <a:avLst/>
          </a:prstGeom>
        </p:spPr>
        <p:txBody>
          <a:bodyPr tIns="36000"/>
          <a:lstStyle>
            <a:lvl1pPr marL="0" indent="0" algn="l">
              <a:lnSpc>
                <a:spcPts val="1800"/>
              </a:lnSpc>
              <a:buFontTx/>
              <a:buNone/>
              <a:defRPr sz="18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Position</a:t>
            </a:r>
            <a:endParaRPr lang="en-BG"/>
          </a:p>
        </p:txBody>
      </p:sp>
      <p:sp>
        <p:nvSpPr>
          <p:cNvPr id="13" name="Picture Placeholder 1">
            <a:extLst>
              <a:ext uri="{FF2B5EF4-FFF2-40B4-BE49-F238E27FC236}">
                <a16:creationId xmlns:a16="http://schemas.microsoft.com/office/drawing/2014/main" id="{219388A0-7D2A-5783-BF69-976196705A41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424828" y="727924"/>
            <a:ext cx="4930831" cy="4934507"/>
          </a:xfrm>
          <a:prstGeom prst="ellipse">
            <a:avLst/>
          </a:prstGeom>
          <a:solidFill>
            <a:srgbClr val="DDE9F7"/>
          </a:solidFill>
        </p:spPr>
        <p:txBody>
          <a:bodyPr/>
          <a:lstStyle>
            <a:lvl1pPr marL="0" indent="0" algn="ctr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hr-HR"/>
              <a:t>Pictu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21725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allery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880A557-7E11-DF49-8186-7D04ACC7527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23600" y="1447799"/>
            <a:ext cx="3459162" cy="2289176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GB"/>
              <a:t>Click icon to add picture</a:t>
            </a:r>
            <a:endParaRPr lang="en-BG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B7890FB8-2450-AF47-8169-9C8D93F61AF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366419" y="1447799"/>
            <a:ext cx="3459162" cy="2289176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GB"/>
              <a:t>Click icon to add picture</a:t>
            </a:r>
            <a:endParaRPr lang="en-BG"/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07D44DAC-CC6B-0F46-B9C2-4D41210383D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012144" y="1447799"/>
            <a:ext cx="3459162" cy="2289176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GB"/>
              <a:t>Click icon to add picture</a:t>
            </a:r>
            <a:endParaRPr lang="en-BG"/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B1EB8CBC-CB7B-C44C-95E3-E1FED843D54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23600" y="3968749"/>
            <a:ext cx="3459162" cy="2268539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GB"/>
              <a:t>Click icon to add picture</a:t>
            </a:r>
            <a:endParaRPr lang="en-BG"/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7C37F377-AED4-8643-ABAC-55E992161DA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66419" y="3968749"/>
            <a:ext cx="3459162" cy="2268539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GB"/>
              <a:t>Click icon to add picture</a:t>
            </a:r>
            <a:endParaRPr lang="en-BG"/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E4E77DCE-0609-D747-AD06-96FFA6F1B7F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12144" y="3968749"/>
            <a:ext cx="3459162" cy="2268539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GB"/>
              <a:t>Click icon to add picture</a:t>
            </a:r>
            <a:endParaRPr lang="en-BG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5EC4521C-3907-8345-BCE7-B2B57F767D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2313" y="538163"/>
            <a:ext cx="10748993" cy="677861"/>
          </a:xfrm>
        </p:spPr>
        <p:txBody>
          <a:bodyPr tIns="108000"/>
          <a:lstStyle/>
          <a:p>
            <a:r>
              <a:rPr lang="en-GB"/>
              <a:t>Gallery</a:t>
            </a:r>
            <a:endParaRPr lang="en-BG"/>
          </a:p>
        </p:txBody>
      </p:sp>
    </p:spTree>
    <p:extLst>
      <p:ext uri="{BB962C8B-B14F-4D97-AF65-F5344CB8AC3E}">
        <p14:creationId xmlns:p14="http://schemas.microsoft.com/office/powerpoint/2010/main" val="36464458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1">
            <a:extLst>
              <a:ext uri="{FF2B5EF4-FFF2-40B4-BE49-F238E27FC236}">
                <a16:creationId xmlns:a16="http://schemas.microsoft.com/office/drawing/2014/main" id="{5FB11B1B-3F3D-604C-9EB4-5E5126F9567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88825" cy="686020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Ins="503999" anchor="ctr" anchorCtr="0"/>
          <a:lstStyle>
            <a:lvl1pPr marL="0" indent="0" algn="r">
              <a:lnSpc>
                <a:spcPts val="3860"/>
              </a:lnSpc>
              <a:buFontTx/>
              <a:buNone/>
              <a:defRPr sz="4800">
                <a:solidFill>
                  <a:srgbClr val="F162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BG"/>
              <a:t>                Picture </a:t>
            </a:r>
            <a:br>
              <a:rPr lang="en-BG"/>
            </a:br>
            <a:r>
              <a:rPr lang="en-BG"/>
              <a:t>Placeholder</a:t>
            </a:r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DC19264-1961-4652-B02A-E3432B012D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6646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DC19264-1961-4652-B02A-E3432B012D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D292E8C3-F64F-4C68-BE86-5BC9BDB4D75C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6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1" smtClean="0">
                <a:solidFill>
                  <a:schemeClr val="bg1">
                    <a:alpha val="69766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1">
              <a:solidFill>
                <a:schemeClr val="bg1">
                  <a:alpha val="69766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971961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duct Slide - OpenEd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A84353A-9AD5-50B2-6EB7-E5BB04A754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1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351" t="22539" r="36581" b="45964"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6D45A37E-93C0-DCC8-B8B7-488BAA4921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53252" b="76294"/>
          <a:stretch/>
        </p:blipFill>
        <p:spPr>
          <a:xfrm>
            <a:off x="1157303" y="444736"/>
            <a:ext cx="11034697" cy="6413264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6F68D42E-85E8-ED5A-5C24-A72B6A9BB8C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13800" y="1320395"/>
            <a:ext cx="5213341" cy="4263723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485F10A-E66C-4489-AA0B-94914B2089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0078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9" imgH="349" progId="TCLayout.ActiveDocument.1">
                  <p:embed/>
                </p:oleObj>
              </mc:Choice>
              <mc:Fallback>
                <p:oleObj name="think-cell Slide" r:id="rId7" imgW="349" imgH="34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485F10A-E66C-4489-AA0B-94914B2089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0FB9D26C-B153-8D91-1D19-6C087784BA15}"/>
              </a:ext>
            </a:extLst>
          </p:cNvPr>
          <p:cNvSpPr txBox="1"/>
          <p:nvPr userDrawn="1"/>
        </p:nvSpPr>
        <p:spPr>
          <a:xfrm>
            <a:off x="18019059" y="2366682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en-BG" sz="240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40725B6-526F-FA66-46B6-AE1DEAC92B0F}"/>
              </a:ext>
            </a:extLst>
          </p:cNvPr>
          <p:cNvSpPr txBox="1"/>
          <p:nvPr userDrawn="1"/>
        </p:nvSpPr>
        <p:spPr>
          <a:xfrm>
            <a:off x="-12640235" y="-7691718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en-BG" sz="2400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8BB582AD-AB91-4584-8DA9-A1F806BEC41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38972" y="3114914"/>
            <a:ext cx="5261777" cy="674687"/>
          </a:xfrm>
        </p:spPr>
        <p:txBody>
          <a:bodyPr/>
          <a:lstStyle>
            <a:lvl1pPr marL="0" indent="0">
              <a:lnSpc>
                <a:spcPct val="114000"/>
              </a:lnSpc>
              <a:buNone/>
              <a:defRPr sz="2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GB"/>
              <a:t>Subtitle</a:t>
            </a:r>
            <a:endParaRPr lang="en-BG"/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A8B5B4F3-B7F0-D0E4-148A-7531BC17C0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8973" y="1594770"/>
            <a:ext cx="5261778" cy="1199693"/>
          </a:xfrm>
          <a:prstGeom prst="rect">
            <a:avLst/>
          </a:prstGeom>
        </p:spPr>
        <p:txBody>
          <a:bodyPr lIns="0" tIns="108000" rIns="0" bIns="0" anchor="t" anchorCtr="0">
            <a:noAutofit/>
          </a:bodyPr>
          <a:lstStyle>
            <a:lvl1pPr>
              <a:lnSpc>
                <a:spcPct val="85000"/>
              </a:lnSpc>
              <a:defRPr sz="4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</a:t>
            </a:r>
            <a:r>
              <a:rPr lang="en-US" err="1"/>
              <a:t>OpenEdge</a:t>
            </a:r>
            <a:r>
              <a:rPr lang="en-GB"/>
              <a:t> title slide</a:t>
            </a:r>
            <a:endParaRPr lang="en-BG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F5EA369A-883F-BB41-517A-47F9E604F287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88160" y="946759"/>
            <a:ext cx="2555246" cy="3185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09375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duct Slide - DataDirec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621FED8-483E-529D-E08D-D803CC6A24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11000"/>
            <a:lum contrast="1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351" t="22539" r="36581" b="45964"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C2BDC811-A354-F27C-5F36-4434AEAF3A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51872" b="75806"/>
          <a:stretch/>
        </p:blipFill>
        <p:spPr>
          <a:xfrm>
            <a:off x="1307007" y="586683"/>
            <a:ext cx="10884994" cy="6271317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485F10A-E66C-4489-AA0B-94914B2089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0078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9" imgH="349" progId="TCLayout.ActiveDocument.1">
                  <p:embed/>
                </p:oleObj>
              </mc:Choice>
              <mc:Fallback>
                <p:oleObj name="think-cell Slide" r:id="rId6" imgW="349" imgH="34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485F10A-E66C-4489-AA0B-94914B2089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0FB9D26C-B153-8D91-1D19-6C087784BA15}"/>
              </a:ext>
            </a:extLst>
          </p:cNvPr>
          <p:cNvSpPr txBox="1"/>
          <p:nvPr userDrawn="1"/>
        </p:nvSpPr>
        <p:spPr>
          <a:xfrm>
            <a:off x="18019059" y="2366682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en-BG" sz="240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40725B6-526F-FA66-46B6-AE1DEAC92B0F}"/>
              </a:ext>
            </a:extLst>
          </p:cNvPr>
          <p:cNvSpPr txBox="1"/>
          <p:nvPr userDrawn="1"/>
        </p:nvSpPr>
        <p:spPr>
          <a:xfrm>
            <a:off x="-12640235" y="-7691718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en-BG" sz="2400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8BB582AD-AB91-4584-8DA9-A1F806BEC41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38972" y="3114914"/>
            <a:ext cx="5261777" cy="674687"/>
          </a:xfrm>
        </p:spPr>
        <p:txBody>
          <a:bodyPr/>
          <a:lstStyle>
            <a:lvl1pPr marL="0" indent="0">
              <a:lnSpc>
                <a:spcPct val="114000"/>
              </a:lnSpc>
              <a:buNone/>
              <a:defRPr sz="2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GB"/>
              <a:t>Subtitle</a:t>
            </a:r>
            <a:endParaRPr lang="en-BG"/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A8B5B4F3-B7F0-D0E4-148A-7531BC17C0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8973" y="1594770"/>
            <a:ext cx="5261778" cy="1199693"/>
          </a:xfrm>
          <a:prstGeom prst="rect">
            <a:avLst/>
          </a:prstGeom>
        </p:spPr>
        <p:txBody>
          <a:bodyPr lIns="0" tIns="108000" rIns="0" bIns="0" anchor="t" anchorCtr="0">
            <a:noAutofit/>
          </a:bodyPr>
          <a:lstStyle>
            <a:lvl1pPr>
              <a:lnSpc>
                <a:spcPct val="85000"/>
              </a:lnSpc>
              <a:defRPr sz="4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</a:t>
            </a:r>
            <a:r>
              <a:rPr lang="en-GB" err="1"/>
              <a:t>DataDirect</a:t>
            </a:r>
            <a:r>
              <a:rPr lang="en-GB"/>
              <a:t> title slide</a:t>
            </a:r>
            <a:endParaRPr lang="en-BG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F32CB980-29DB-AEDD-2299-290352613E08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88160" y="946758"/>
            <a:ext cx="2555246" cy="318521"/>
          </a:xfrm>
          <a:prstGeom prst="rect">
            <a:avLst/>
          </a:prstGeom>
        </p:spPr>
      </p:pic>
      <p:pic>
        <p:nvPicPr>
          <p:cNvPr id="22" name="Graphic 21">
            <a:extLst>
              <a:ext uri="{FF2B5EF4-FFF2-40B4-BE49-F238E27FC236}">
                <a16:creationId xmlns:a16="http://schemas.microsoft.com/office/drawing/2014/main" id="{F7B07A7B-B2AB-3AB5-CDA3-14B7B12C3AD7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306831" y="1844842"/>
            <a:ext cx="5569198" cy="46595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55623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/Cover Slide + Speaker's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D5BEF27F-A9D3-87D6-88DD-362E4E7ABB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35163" t="40397" r="25896" b="35482"/>
          <a:stretch/>
        </p:blipFill>
        <p:spPr>
          <a:xfrm>
            <a:off x="21020" y="21018"/>
            <a:ext cx="12192000" cy="6858002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485F10A-E66C-4489-AA0B-94914B2089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41145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9" imgH="349" progId="TCLayout.ActiveDocument.1">
                  <p:embed/>
                </p:oleObj>
              </mc:Choice>
              <mc:Fallback>
                <p:oleObj name="think-cell Slide" r:id="rId5" imgW="349" imgH="34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485F10A-E66C-4489-AA0B-94914B2089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AFE9A584-67A4-F159-B817-D0B9351FB0B6}"/>
              </a:ext>
            </a:extLst>
          </p:cNvPr>
          <p:cNvSpPr txBox="1"/>
          <p:nvPr userDrawn="1"/>
        </p:nvSpPr>
        <p:spPr>
          <a:xfrm>
            <a:off x="-4231758" y="1998921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en-BG" sz="2400"/>
          </a:p>
        </p:txBody>
      </p:sp>
      <p:pic>
        <p:nvPicPr>
          <p:cNvPr id="13" name="Picture 2">
            <a:extLst>
              <a:ext uri="{FF2B5EF4-FFF2-40B4-BE49-F238E27FC236}">
                <a16:creationId xmlns:a16="http://schemas.microsoft.com/office/drawing/2014/main" id="{77BE795C-072A-459C-8648-8D68BC93FAA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426315" y="745314"/>
            <a:ext cx="1341526" cy="311178"/>
          </a:xfrm>
          <a:prstGeom prst="rect">
            <a:avLst/>
          </a:prstGeom>
        </p:spPr>
      </p:pic>
      <p:sp>
        <p:nvSpPr>
          <p:cNvPr id="5" name="Picture Placeholder 1">
            <a:extLst>
              <a:ext uri="{FF2B5EF4-FFF2-40B4-BE49-F238E27FC236}">
                <a16:creationId xmlns:a16="http://schemas.microsoft.com/office/drawing/2014/main" id="{D26A23C4-8FFF-C281-313F-7DAB0943BFC8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738972" y="4116610"/>
            <a:ext cx="1341526" cy="1302685"/>
          </a:xfrm>
          <a:prstGeom prst="ellipse">
            <a:avLst/>
          </a:prstGeom>
          <a:solidFill>
            <a:srgbClr val="DDE9F7"/>
          </a:solidFill>
        </p:spPr>
        <p:txBody>
          <a:bodyPr/>
          <a:lstStyle>
            <a:lvl1pPr marL="0" indent="0" algn="ctr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hr-HR"/>
              <a:t>Picture</a:t>
            </a:r>
            <a:endParaRPr lang="en-US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F2C0A766-5D97-8699-F8E5-997B3902E0E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19430" y="4182155"/>
            <a:ext cx="3813855" cy="388554"/>
          </a:xfrm>
        </p:spPr>
        <p:txBody>
          <a:bodyPr tIns="36000" anchor="ctr" anchorCtr="0">
            <a:noAutofit/>
          </a:bodyPr>
          <a:lstStyle>
            <a:lvl1pPr marL="0" indent="0" algn="l">
              <a:lnSpc>
                <a:spcPct val="90000"/>
              </a:lnSpc>
              <a:buNone/>
              <a:defRPr sz="2400" b="1" i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EB34A0B8-9290-70C5-172C-8FE7982E44C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219430" y="4647602"/>
            <a:ext cx="3813855" cy="312131"/>
          </a:xfrm>
        </p:spPr>
        <p:txBody>
          <a:bodyPr tIns="72000" anchor="ctr" anchorCtr="0">
            <a:noAutofit/>
          </a:bodyPr>
          <a:lstStyle>
            <a:lvl1pPr marL="0" indent="0" algn="l">
              <a:lnSpc>
                <a:spcPct val="90000"/>
              </a:lnSpc>
              <a:buNone/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peaker Titl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C2B1E544-A739-FF0A-A5FA-D5CFA61D260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19430" y="5107164"/>
            <a:ext cx="3813855" cy="312131"/>
          </a:xfrm>
        </p:spPr>
        <p:txBody>
          <a:bodyPr tIns="72000" anchor="ctr" anchorCtr="0">
            <a:noAutofit/>
          </a:bodyPr>
          <a:lstStyle>
            <a:lvl1pPr marL="0" indent="0" algn="l">
              <a:lnSpc>
                <a:spcPts val="1800"/>
              </a:lnSpc>
              <a:buNone/>
              <a:defRPr sz="1800" b="0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7" name="Title 3">
            <a:extLst>
              <a:ext uri="{FF2B5EF4-FFF2-40B4-BE49-F238E27FC236}">
                <a16:creationId xmlns:a16="http://schemas.microsoft.com/office/drawing/2014/main" id="{AF56EA05-C37B-3A3B-43EF-F571B83668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8973" y="1594770"/>
            <a:ext cx="5261778" cy="2073689"/>
          </a:xfrm>
          <a:prstGeom prst="rect">
            <a:avLst/>
          </a:prstGeom>
        </p:spPr>
        <p:txBody>
          <a:bodyPr lIns="0" tIns="108000" rIns="0" bIns="0" anchor="t" anchorCtr="0">
            <a:noAutofit/>
          </a:bodyPr>
          <a:lstStyle>
            <a:lvl1pPr>
              <a:lnSpc>
                <a:spcPct val="85000"/>
              </a:lnSpc>
              <a:defRPr sz="4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Master title style up to three lines of text</a:t>
            </a:r>
            <a:endParaRPr lang="en-BG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C84F9038-0459-C0F9-62A0-E1A612B9C3B6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63242" y="-11876"/>
            <a:ext cx="7961652" cy="6920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47304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duct Slide - MarkLogic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E134877-15F5-17CF-59F4-1DFB0A2EE1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11000"/>
            <a:lum contrast="1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351" t="22539" r="36581" b="45964"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FDD64B20-F4AA-2D17-2C61-23CB49BC1D7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52060" y="2769891"/>
            <a:ext cx="2614568" cy="2614568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61781FE9-D446-38C8-4175-6161B7AA3C3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r="51002" b="75486"/>
          <a:stretch/>
        </p:blipFill>
        <p:spPr>
          <a:xfrm>
            <a:off x="1521306" y="696694"/>
            <a:ext cx="10670694" cy="6161306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485F10A-E66C-4489-AA0B-94914B2089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0078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9" imgH="349" progId="TCLayout.ActiveDocument.1">
                  <p:embed/>
                </p:oleObj>
              </mc:Choice>
              <mc:Fallback>
                <p:oleObj name="think-cell Slide" r:id="rId7" imgW="349" imgH="34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485F10A-E66C-4489-AA0B-94914B2089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0FB9D26C-B153-8D91-1D19-6C087784BA15}"/>
              </a:ext>
            </a:extLst>
          </p:cNvPr>
          <p:cNvSpPr txBox="1"/>
          <p:nvPr userDrawn="1"/>
        </p:nvSpPr>
        <p:spPr>
          <a:xfrm>
            <a:off x="18019059" y="2366682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en-BG" sz="240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40725B6-526F-FA66-46B6-AE1DEAC92B0F}"/>
              </a:ext>
            </a:extLst>
          </p:cNvPr>
          <p:cNvSpPr txBox="1"/>
          <p:nvPr userDrawn="1"/>
        </p:nvSpPr>
        <p:spPr>
          <a:xfrm>
            <a:off x="-12640235" y="-7691718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en-BG" sz="2400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8BB582AD-AB91-4584-8DA9-A1F806BEC41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38972" y="3114914"/>
            <a:ext cx="5261777" cy="674687"/>
          </a:xfrm>
        </p:spPr>
        <p:txBody>
          <a:bodyPr/>
          <a:lstStyle>
            <a:lvl1pPr marL="0" indent="0">
              <a:lnSpc>
                <a:spcPct val="114000"/>
              </a:lnSpc>
              <a:buNone/>
              <a:defRPr sz="2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GB"/>
              <a:t>Subtitle</a:t>
            </a:r>
            <a:endParaRPr lang="en-BG"/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A8B5B4F3-B7F0-D0E4-148A-7531BC17C0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8973" y="1594770"/>
            <a:ext cx="5261778" cy="1199693"/>
          </a:xfrm>
          <a:prstGeom prst="rect">
            <a:avLst/>
          </a:prstGeom>
        </p:spPr>
        <p:txBody>
          <a:bodyPr lIns="0" tIns="108000" rIns="0" bIns="0" anchor="t" anchorCtr="0">
            <a:noAutofit/>
          </a:bodyPr>
          <a:lstStyle>
            <a:lvl1pPr>
              <a:lnSpc>
                <a:spcPct val="85000"/>
              </a:lnSpc>
              <a:defRPr sz="4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</a:t>
            </a:r>
            <a:r>
              <a:rPr lang="en-GB" err="1"/>
              <a:t>MarkLogic</a:t>
            </a:r>
            <a:r>
              <a:rPr lang="en-GB"/>
              <a:t> title slide</a:t>
            </a:r>
            <a:endParaRPr lang="en-BG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42C3ED61-2990-AF64-566D-F5AC50EF1481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69561" y="914328"/>
            <a:ext cx="2701643" cy="338646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BBE27880-C361-D80F-6311-720A27AE016F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71830" y="538386"/>
            <a:ext cx="5312353" cy="4182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58533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duct Slide - Semapho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69744B44-CCF6-BB1D-8BF3-DD5EE06F02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336" t="8659" r="18284" b="41332"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1C2DF614-21E4-E799-E9E2-19B131DC46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52995" b="75314"/>
          <a:stretch/>
        </p:blipFill>
        <p:spPr>
          <a:xfrm>
            <a:off x="1652145" y="489709"/>
            <a:ext cx="10539855" cy="6368292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485F10A-E66C-4489-AA0B-94914B2089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0078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9" imgH="349" progId="TCLayout.ActiveDocument.1">
                  <p:embed/>
                </p:oleObj>
              </mc:Choice>
              <mc:Fallback>
                <p:oleObj name="think-cell Slide" r:id="rId6" imgW="349" imgH="34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485F10A-E66C-4489-AA0B-94914B2089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0FB9D26C-B153-8D91-1D19-6C087784BA15}"/>
              </a:ext>
            </a:extLst>
          </p:cNvPr>
          <p:cNvSpPr txBox="1"/>
          <p:nvPr userDrawn="1"/>
        </p:nvSpPr>
        <p:spPr>
          <a:xfrm>
            <a:off x="18019059" y="2366682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en-BG" sz="240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40725B6-526F-FA66-46B6-AE1DEAC92B0F}"/>
              </a:ext>
            </a:extLst>
          </p:cNvPr>
          <p:cNvSpPr txBox="1"/>
          <p:nvPr userDrawn="1"/>
        </p:nvSpPr>
        <p:spPr>
          <a:xfrm>
            <a:off x="-12640235" y="-7691718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en-BG" sz="2400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8BB582AD-AB91-4584-8DA9-A1F806BEC41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38972" y="3114914"/>
            <a:ext cx="5261777" cy="674687"/>
          </a:xfrm>
        </p:spPr>
        <p:txBody>
          <a:bodyPr/>
          <a:lstStyle>
            <a:lvl1pPr marL="0" indent="0">
              <a:lnSpc>
                <a:spcPct val="114000"/>
              </a:lnSpc>
              <a:buNone/>
              <a:defRPr sz="2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GB"/>
              <a:t>Subtitle</a:t>
            </a:r>
            <a:endParaRPr lang="en-BG"/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A8B5B4F3-B7F0-D0E4-148A-7531BC17C0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8973" y="1594770"/>
            <a:ext cx="5261778" cy="1199693"/>
          </a:xfrm>
          <a:prstGeom prst="rect">
            <a:avLst/>
          </a:prstGeom>
        </p:spPr>
        <p:txBody>
          <a:bodyPr lIns="0" tIns="108000" rIns="0" bIns="0" anchor="t" anchorCtr="0">
            <a:noAutofit/>
          </a:bodyPr>
          <a:lstStyle>
            <a:lvl1pPr>
              <a:lnSpc>
                <a:spcPct val="85000"/>
              </a:lnSpc>
              <a:defRPr sz="4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BG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0BF5B783-7CB9-219F-F549-930057E9AFED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63383" y="907848"/>
            <a:ext cx="2860518" cy="34418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D529D050-7137-A05B-6208-B907C8C213AD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48412" y="2194616"/>
            <a:ext cx="5892800" cy="3530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949891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Product Slide - Sitefinit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305AC651-B6C0-8661-072A-BA223F4508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11000"/>
            <a:lum contrast="1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351" t="22539" r="36581" b="45964"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E0830D3F-9D29-7A0B-5C88-72DF08D6B43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4969" r="52968" b="79470"/>
          <a:stretch/>
        </p:blipFill>
        <p:spPr>
          <a:xfrm>
            <a:off x="738972" y="425779"/>
            <a:ext cx="11453028" cy="6432222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485F10A-E66C-4489-AA0B-94914B2089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0078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9" imgH="349" progId="TCLayout.ActiveDocument.1">
                  <p:embed/>
                </p:oleObj>
              </mc:Choice>
              <mc:Fallback>
                <p:oleObj name="think-cell Slide" r:id="rId6" imgW="349" imgH="34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485F10A-E66C-4489-AA0B-94914B2089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0FB9D26C-B153-8D91-1D19-6C087784BA15}"/>
              </a:ext>
            </a:extLst>
          </p:cNvPr>
          <p:cNvSpPr txBox="1"/>
          <p:nvPr userDrawn="1"/>
        </p:nvSpPr>
        <p:spPr>
          <a:xfrm>
            <a:off x="18019059" y="2366682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en-BG" sz="240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40725B6-526F-FA66-46B6-AE1DEAC92B0F}"/>
              </a:ext>
            </a:extLst>
          </p:cNvPr>
          <p:cNvSpPr txBox="1"/>
          <p:nvPr userDrawn="1"/>
        </p:nvSpPr>
        <p:spPr>
          <a:xfrm>
            <a:off x="-12640235" y="-7691718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en-BG" sz="240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1F408DC0-C2F5-0744-1AF8-0774C868C53E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7058" y="950858"/>
            <a:ext cx="2359319" cy="322458"/>
          </a:xfrm>
          <a:prstGeom prst="rect">
            <a:avLst/>
          </a:prstGeom>
        </p:spPr>
      </p:pic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8BB582AD-AB91-4584-8DA9-A1F806BEC41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38972" y="3114914"/>
            <a:ext cx="5261777" cy="674687"/>
          </a:xfrm>
        </p:spPr>
        <p:txBody>
          <a:bodyPr/>
          <a:lstStyle>
            <a:lvl1pPr marL="0" indent="0">
              <a:lnSpc>
                <a:spcPct val="114000"/>
              </a:lnSpc>
              <a:buNone/>
              <a:defRPr sz="2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GB"/>
              <a:t>Subtitle</a:t>
            </a:r>
            <a:endParaRPr lang="en-BG"/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A8B5B4F3-B7F0-D0E4-148A-7531BC17C0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8973" y="1594770"/>
            <a:ext cx="5261778" cy="1199693"/>
          </a:xfrm>
          <a:prstGeom prst="rect">
            <a:avLst/>
          </a:prstGeom>
        </p:spPr>
        <p:txBody>
          <a:bodyPr lIns="0" tIns="108000" rIns="0" bIns="0" anchor="t" anchorCtr="0">
            <a:noAutofit/>
          </a:bodyPr>
          <a:lstStyle>
            <a:lvl1pPr>
              <a:lnSpc>
                <a:spcPct val="85000"/>
              </a:lnSpc>
              <a:defRPr sz="4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Sitefinity title slide</a:t>
            </a:r>
            <a:endParaRPr lang="en-BG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6806AC4-3DB2-139C-33C7-5F9BB6C69AEE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91675" y="2724540"/>
            <a:ext cx="4427426" cy="295514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A3EF343-1AEB-563A-FFB0-8E5F9DC7E412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41455" y="1178312"/>
            <a:ext cx="2322034" cy="12774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66937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duct Slide - MOVE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41F82CE-59A1-9957-C686-1E51522A5B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336" t="8659" r="18284" b="41332"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96E95E81-B99A-030B-6F61-E2022FD3CD7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52208" b="76068"/>
          <a:stretch/>
        </p:blipFill>
        <p:spPr>
          <a:xfrm>
            <a:off x="1178347" y="536962"/>
            <a:ext cx="11013653" cy="6321038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485F10A-E66C-4489-AA0B-94914B2089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0078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9" imgH="349" progId="TCLayout.ActiveDocument.1">
                  <p:embed/>
                </p:oleObj>
              </mc:Choice>
              <mc:Fallback>
                <p:oleObj name="think-cell Slide" r:id="rId6" imgW="349" imgH="34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485F10A-E66C-4489-AA0B-94914B2089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0FB9D26C-B153-8D91-1D19-6C087784BA15}"/>
              </a:ext>
            </a:extLst>
          </p:cNvPr>
          <p:cNvSpPr txBox="1"/>
          <p:nvPr userDrawn="1"/>
        </p:nvSpPr>
        <p:spPr>
          <a:xfrm>
            <a:off x="18019059" y="2366682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en-BG" sz="240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40725B6-526F-FA66-46B6-AE1DEAC92B0F}"/>
              </a:ext>
            </a:extLst>
          </p:cNvPr>
          <p:cNvSpPr txBox="1"/>
          <p:nvPr userDrawn="1"/>
        </p:nvSpPr>
        <p:spPr>
          <a:xfrm>
            <a:off x="-12640235" y="-7691718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en-BG" sz="2400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8BB582AD-AB91-4584-8DA9-A1F806BEC41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38972" y="3114914"/>
            <a:ext cx="5261777" cy="674687"/>
          </a:xfrm>
        </p:spPr>
        <p:txBody>
          <a:bodyPr/>
          <a:lstStyle>
            <a:lvl1pPr marL="0" indent="0">
              <a:lnSpc>
                <a:spcPct val="114000"/>
              </a:lnSpc>
              <a:buNone/>
              <a:defRPr sz="2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GB"/>
              <a:t>Subtitle</a:t>
            </a:r>
            <a:endParaRPr lang="en-BG"/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A8B5B4F3-B7F0-D0E4-148A-7531BC17C0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8973" y="1594770"/>
            <a:ext cx="5261778" cy="1199693"/>
          </a:xfrm>
          <a:prstGeom prst="rect">
            <a:avLst/>
          </a:prstGeom>
        </p:spPr>
        <p:txBody>
          <a:bodyPr lIns="0" tIns="108000" rIns="0" bIns="0" anchor="t" anchorCtr="0">
            <a:noAutofit/>
          </a:bodyPr>
          <a:lstStyle>
            <a:lvl1pPr>
              <a:lnSpc>
                <a:spcPct val="85000"/>
              </a:lnSpc>
              <a:defRPr sz="4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</a:t>
            </a:r>
            <a:r>
              <a:rPr lang="en-GB" err="1"/>
              <a:t>MOVEit</a:t>
            </a:r>
            <a:r>
              <a:rPr lang="en-GB"/>
              <a:t> title slide</a:t>
            </a:r>
            <a:endParaRPr lang="en-BG"/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32BF6701-1C76-E8CC-7F4E-02F929E5F2A1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69561" y="922687"/>
            <a:ext cx="2393095" cy="33864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6E64B612-1D56-A029-2A6E-0B8211CC4C75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24323" y="2027627"/>
            <a:ext cx="4384607" cy="3713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163382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duct Slide - Cort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D4D40DB-134B-496C-CBDC-307CABF9300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336" t="8659" r="18284" b="41332"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A78CBCE9-498D-4CB0-C0C1-442895B24D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56394" b="76564"/>
          <a:stretch/>
        </p:blipFill>
        <p:spPr>
          <a:xfrm>
            <a:off x="1058428" y="0"/>
            <a:ext cx="11133572" cy="6858000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485F10A-E66C-4489-AA0B-94914B2089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0078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9" imgH="349" progId="TCLayout.ActiveDocument.1">
                  <p:embed/>
                </p:oleObj>
              </mc:Choice>
              <mc:Fallback>
                <p:oleObj name="think-cell Slide" r:id="rId6" imgW="349" imgH="34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485F10A-E66C-4489-AA0B-94914B2089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0FB9D26C-B153-8D91-1D19-6C087784BA15}"/>
              </a:ext>
            </a:extLst>
          </p:cNvPr>
          <p:cNvSpPr txBox="1"/>
          <p:nvPr userDrawn="1"/>
        </p:nvSpPr>
        <p:spPr>
          <a:xfrm>
            <a:off x="18019059" y="2366682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en-BG" sz="240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40725B6-526F-FA66-46B6-AE1DEAC92B0F}"/>
              </a:ext>
            </a:extLst>
          </p:cNvPr>
          <p:cNvSpPr txBox="1"/>
          <p:nvPr userDrawn="1"/>
        </p:nvSpPr>
        <p:spPr>
          <a:xfrm>
            <a:off x="-12640235" y="-7691718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en-BG" sz="2400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8BB582AD-AB91-4584-8DA9-A1F806BEC41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38972" y="3114914"/>
            <a:ext cx="5661827" cy="674687"/>
          </a:xfrm>
        </p:spPr>
        <p:txBody>
          <a:bodyPr/>
          <a:lstStyle>
            <a:lvl1pPr marL="0" indent="0">
              <a:lnSpc>
                <a:spcPct val="114000"/>
              </a:lnSpc>
              <a:buNone/>
              <a:defRPr sz="2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GB"/>
              <a:t>Subtitle</a:t>
            </a:r>
            <a:endParaRPr lang="en-BG"/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A8B5B4F3-B7F0-D0E4-148A-7531BC17C0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8972" y="1594770"/>
            <a:ext cx="5661827" cy="1199693"/>
          </a:xfrm>
          <a:prstGeom prst="rect">
            <a:avLst/>
          </a:prstGeom>
        </p:spPr>
        <p:txBody>
          <a:bodyPr lIns="0" tIns="108000" rIns="0" bIns="0" anchor="t" anchorCtr="0">
            <a:noAutofit/>
          </a:bodyPr>
          <a:lstStyle>
            <a:lvl1pPr>
              <a:lnSpc>
                <a:spcPct val="85000"/>
              </a:lnSpc>
              <a:defRPr sz="4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</a:t>
            </a:r>
            <a:r>
              <a:rPr lang="en-GB" err="1"/>
              <a:t>Corticon</a:t>
            </a:r>
            <a:r>
              <a:rPr lang="en-GB"/>
              <a:t> title slide</a:t>
            </a:r>
            <a:endParaRPr lang="en-BG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3A3AD626-58FB-378B-86F3-1F4E529666AA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88160" y="923857"/>
            <a:ext cx="2335789" cy="34392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B43BDF99-BFF3-E37C-CDF7-2499029C860C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1201" y="1913884"/>
            <a:ext cx="5661827" cy="3751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232638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Product Slide - DevTool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A0E62130-121F-13BE-1142-86866BD609D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485F10A-E66C-4489-AA0B-94914B2089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0078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9" imgH="349" progId="TCLayout.ActiveDocument.1">
                  <p:embed/>
                </p:oleObj>
              </mc:Choice>
              <mc:Fallback>
                <p:oleObj name="think-cell Slide" r:id="rId5" imgW="349" imgH="34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485F10A-E66C-4489-AA0B-94914B2089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0FB9D26C-B153-8D91-1D19-6C087784BA15}"/>
              </a:ext>
            </a:extLst>
          </p:cNvPr>
          <p:cNvSpPr txBox="1"/>
          <p:nvPr userDrawn="1"/>
        </p:nvSpPr>
        <p:spPr>
          <a:xfrm>
            <a:off x="18019059" y="2366682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en-BG" sz="240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40725B6-526F-FA66-46B6-AE1DEAC92B0F}"/>
              </a:ext>
            </a:extLst>
          </p:cNvPr>
          <p:cNvSpPr txBox="1"/>
          <p:nvPr userDrawn="1"/>
        </p:nvSpPr>
        <p:spPr>
          <a:xfrm>
            <a:off x="-12640235" y="-7691718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en-BG" sz="2400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8BB582AD-AB91-4584-8DA9-A1F806BEC41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38972" y="3114914"/>
            <a:ext cx="5261777" cy="674687"/>
          </a:xfrm>
        </p:spPr>
        <p:txBody>
          <a:bodyPr/>
          <a:lstStyle>
            <a:lvl1pPr marL="0" indent="0">
              <a:lnSpc>
                <a:spcPct val="114000"/>
              </a:lnSpc>
              <a:buNone/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</a:t>
            </a:r>
            <a:endParaRPr lang="en-BG"/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A8B5B4F3-B7F0-D0E4-148A-7531BC17C0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8973" y="1594770"/>
            <a:ext cx="5261778" cy="1199693"/>
          </a:xfrm>
          <a:prstGeom prst="rect">
            <a:avLst/>
          </a:prstGeom>
        </p:spPr>
        <p:txBody>
          <a:bodyPr lIns="0" tIns="108000" rIns="0" bIns="0" anchor="t" anchorCtr="0">
            <a:noAutofit/>
          </a:bodyPr>
          <a:lstStyle>
            <a:lvl1pPr>
              <a:lnSpc>
                <a:spcPct val="85000"/>
              </a:lnSpc>
              <a:defRPr sz="44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BG"/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9A074213-924A-EB71-9B61-8B64BAE79A4A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149587" y="2923743"/>
            <a:ext cx="3303441" cy="317168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9104196-F0E4-787A-37CE-5EC9A0A72B8B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4039" y="893561"/>
            <a:ext cx="2564141" cy="344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519978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duct Slide - DevTools">
    <p:bg>
      <p:bgPr>
        <a:solidFill>
          <a:srgbClr val="3143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Graphic 29">
            <a:extLst>
              <a:ext uri="{FF2B5EF4-FFF2-40B4-BE49-F238E27FC236}">
                <a16:creationId xmlns:a16="http://schemas.microsoft.com/office/drawing/2014/main" id="{3DD464B3-3700-7F51-E5F8-EF89211EE6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485F10A-E66C-4489-AA0B-94914B2089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0078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9" imgH="349" progId="TCLayout.ActiveDocument.1">
                  <p:embed/>
                </p:oleObj>
              </mc:Choice>
              <mc:Fallback>
                <p:oleObj name="think-cell Slide" r:id="rId5" imgW="349" imgH="34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485F10A-E66C-4489-AA0B-94914B2089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0FB9D26C-B153-8D91-1D19-6C087784BA15}"/>
              </a:ext>
            </a:extLst>
          </p:cNvPr>
          <p:cNvSpPr txBox="1"/>
          <p:nvPr userDrawn="1"/>
        </p:nvSpPr>
        <p:spPr>
          <a:xfrm>
            <a:off x="18019059" y="2366682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en-BG" sz="240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40725B6-526F-FA66-46B6-AE1DEAC92B0F}"/>
              </a:ext>
            </a:extLst>
          </p:cNvPr>
          <p:cNvSpPr txBox="1"/>
          <p:nvPr userDrawn="1"/>
        </p:nvSpPr>
        <p:spPr>
          <a:xfrm>
            <a:off x="-12640235" y="-7691718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en-BG" sz="2400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8BB582AD-AB91-4584-8DA9-A1F806BEC41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38972" y="3114914"/>
            <a:ext cx="5261777" cy="674687"/>
          </a:xfrm>
        </p:spPr>
        <p:txBody>
          <a:bodyPr/>
          <a:lstStyle>
            <a:lvl1pPr marL="0" indent="0">
              <a:lnSpc>
                <a:spcPct val="114000"/>
              </a:lnSpc>
              <a:buNone/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</a:t>
            </a:r>
            <a:endParaRPr lang="en-BG"/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A8B5B4F3-B7F0-D0E4-148A-7531BC17C0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8973" y="1594770"/>
            <a:ext cx="5261778" cy="1199693"/>
          </a:xfrm>
          <a:prstGeom prst="rect">
            <a:avLst/>
          </a:prstGeom>
        </p:spPr>
        <p:txBody>
          <a:bodyPr lIns="0" tIns="108000" rIns="0" bIns="0" anchor="t" anchorCtr="0">
            <a:noAutofit/>
          </a:bodyPr>
          <a:lstStyle>
            <a:lvl1pPr>
              <a:lnSpc>
                <a:spcPct val="85000"/>
              </a:lnSpc>
              <a:defRPr sz="44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BG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D079358C-09E2-585C-2D75-B3F6211172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411693" y="2914188"/>
            <a:ext cx="3041335" cy="3505983"/>
          </a:xfrm>
          <a:prstGeom prst="rect">
            <a:avLst/>
          </a:prstGeom>
        </p:spPr>
      </p:pic>
      <p:pic>
        <p:nvPicPr>
          <p:cNvPr id="26" name="Graphic 25">
            <a:extLst>
              <a:ext uri="{FF2B5EF4-FFF2-40B4-BE49-F238E27FC236}">
                <a16:creationId xmlns:a16="http://schemas.microsoft.com/office/drawing/2014/main" id="{74F16FC8-339E-F2C6-64F8-D398F1D36104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63383" y="895265"/>
            <a:ext cx="2569877" cy="344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29934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duct Slide - Che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1F6F81F4-50B8-98E4-7A52-DB529CF0C3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11000"/>
            <a:lum contrast="1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351" t="22539" r="36581" b="45964"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B953E8D0-9AC7-EF13-001C-89A7F54FBD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52136" b="75767"/>
          <a:stretch/>
        </p:blipFill>
        <p:spPr>
          <a:xfrm>
            <a:off x="1607896" y="716300"/>
            <a:ext cx="10584104" cy="6141700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485F10A-E66C-4489-AA0B-94914B2089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0078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9" imgH="349" progId="TCLayout.ActiveDocument.1">
                  <p:embed/>
                </p:oleObj>
              </mc:Choice>
              <mc:Fallback>
                <p:oleObj name="think-cell Slide" r:id="rId6" imgW="349" imgH="34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485F10A-E66C-4489-AA0B-94914B2089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0FB9D26C-B153-8D91-1D19-6C087784BA15}"/>
              </a:ext>
            </a:extLst>
          </p:cNvPr>
          <p:cNvSpPr txBox="1"/>
          <p:nvPr userDrawn="1"/>
        </p:nvSpPr>
        <p:spPr>
          <a:xfrm>
            <a:off x="18019059" y="2366682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en-BG" sz="240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40725B6-526F-FA66-46B6-AE1DEAC92B0F}"/>
              </a:ext>
            </a:extLst>
          </p:cNvPr>
          <p:cNvSpPr txBox="1"/>
          <p:nvPr userDrawn="1"/>
        </p:nvSpPr>
        <p:spPr>
          <a:xfrm>
            <a:off x="-12640235" y="-7691718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en-BG" sz="2400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8BB582AD-AB91-4584-8DA9-A1F806BEC41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38972" y="3114914"/>
            <a:ext cx="5261777" cy="674687"/>
          </a:xfrm>
        </p:spPr>
        <p:txBody>
          <a:bodyPr/>
          <a:lstStyle>
            <a:lvl1pPr marL="0" indent="0">
              <a:lnSpc>
                <a:spcPct val="114000"/>
              </a:lnSpc>
              <a:buNone/>
              <a:defRPr sz="2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GB"/>
              <a:t>Subtitle</a:t>
            </a:r>
            <a:endParaRPr lang="en-BG"/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A8B5B4F3-B7F0-D0E4-148A-7531BC17C0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8973" y="1594770"/>
            <a:ext cx="5261778" cy="1199693"/>
          </a:xfrm>
          <a:prstGeom prst="rect">
            <a:avLst/>
          </a:prstGeom>
        </p:spPr>
        <p:txBody>
          <a:bodyPr lIns="0" tIns="108000" rIns="0" bIns="0" anchor="t" anchorCtr="0">
            <a:noAutofit/>
          </a:bodyPr>
          <a:lstStyle>
            <a:lvl1pPr>
              <a:lnSpc>
                <a:spcPct val="85000"/>
              </a:lnSpc>
              <a:defRPr sz="4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Chef title slide</a:t>
            </a:r>
            <a:endParaRPr lang="en-BG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CE3C21F8-4922-46B7-9A9E-A014A1C1EB70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88160" y="932520"/>
            <a:ext cx="1990973" cy="328182"/>
          </a:xfrm>
          <a:prstGeom prst="rect">
            <a:avLst/>
          </a:prstGeom>
        </p:spPr>
      </p:pic>
      <p:pic>
        <p:nvPicPr>
          <p:cNvPr id="15" name="Picture 14" descr="A colorful gears with lines and dots&#10;&#10;Description automatically generated with medium confidence">
            <a:extLst>
              <a:ext uri="{FF2B5EF4-FFF2-40B4-BE49-F238E27FC236}">
                <a16:creationId xmlns:a16="http://schemas.microsoft.com/office/drawing/2014/main" id="{7DAB0572-B9ED-E3AD-F60E-F0F13785C4B3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03048" y="1398494"/>
            <a:ext cx="4623142" cy="3651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182902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duct Slide - LoadMas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30C8D9F-B666-C27A-6F7C-FC0683AD1F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11000"/>
            <a:lum contrast="1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351" t="22539" r="36581" b="45964"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A78CBCE9-498D-4CB0-C0C1-442895B24D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56394" b="76564"/>
          <a:stretch/>
        </p:blipFill>
        <p:spPr>
          <a:xfrm>
            <a:off x="1058428" y="0"/>
            <a:ext cx="11133572" cy="6858000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485F10A-E66C-4489-AA0B-94914B2089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0078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9" imgH="349" progId="TCLayout.ActiveDocument.1">
                  <p:embed/>
                </p:oleObj>
              </mc:Choice>
              <mc:Fallback>
                <p:oleObj name="think-cell Slide" r:id="rId6" imgW="349" imgH="34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485F10A-E66C-4489-AA0B-94914B2089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0FB9D26C-B153-8D91-1D19-6C087784BA15}"/>
              </a:ext>
            </a:extLst>
          </p:cNvPr>
          <p:cNvSpPr txBox="1"/>
          <p:nvPr userDrawn="1"/>
        </p:nvSpPr>
        <p:spPr>
          <a:xfrm>
            <a:off x="18019059" y="2366682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en-BG" sz="240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40725B6-526F-FA66-46B6-AE1DEAC92B0F}"/>
              </a:ext>
            </a:extLst>
          </p:cNvPr>
          <p:cNvSpPr txBox="1"/>
          <p:nvPr userDrawn="1"/>
        </p:nvSpPr>
        <p:spPr>
          <a:xfrm>
            <a:off x="-12640235" y="-7691718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en-BG" sz="2400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8BB582AD-AB91-4584-8DA9-A1F806BEC41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38972" y="3114914"/>
            <a:ext cx="5661827" cy="674687"/>
          </a:xfrm>
        </p:spPr>
        <p:txBody>
          <a:bodyPr/>
          <a:lstStyle>
            <a:lvl1pPr marL="0" indent="0">
              <a:lnSpc>
                <a:spcPct val="114000"/>
              </a:lnSpc>
              <a:buNone/>
              <a:defRPr sz="2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GB"/>
              <a:t>Subtitle</a:t>
            </a:r>
            <a:endParaRPr lang="en-BG"/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A8B5B4F3-B7F0-D0E4-148A-7531BC17C0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8972" y="1594770"/>
            <a:ext cx="5661827" cy="1199693"/>
          </a:xfrm>
          <a:prstGeom prst="rect">
            <a:avLst/>
          </a:prstGeom>
        </p:spPr>
        <p:txBody>
          <a:bodyPr lIns="0" tIns="108000" rIns="0" bIns="0" anchor="t" anchorCtr="0">
            <a:noAutofit/>
          </a:bodyPr>
          <a:lstStyle>
            <a:lvl1pPr>
              <a:lnSpc>
                <a:spcPct val="85000"/>
              </a:lnSpc>
              <a:defRPr sz="4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</a:t>
            </a:r>
            <a:r>
              <a:rPr lang="en-GB" err="1"/>
              <a:t>LoadMaster</a:t>
            </a:r>
            <a:r>
              <a:rPr lang="en-GB"/>
              <a:t> title slide</a:t>
            </a:r>
            <a:endParaRPr lang="en-BG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ED658FDB-2BF6-5493-B0A9-8FC332B87897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88160" y="942692"/>
            <a:ext cx="3461945" cy="321875"/>
          </a:xfrm>
          <a:prstGeom prst="rect">
            <a:avLst/>
          </a:prstGeom>
        </p:spPr>
      </p:pic>
      <p:pic>
        <p:nvPicPr>
          <p:cNvPr id="28" name="Graphic 27">
            <a:extLst>
              <a:ext uri="{FF2B5EF4-FFF2-40B4-BE49-F238E27FC236}">
                <a16:creationId xmlns:a16="http://schemas.microsoft.com/office/drawing/2014/main" id="{37F52133-D8B9-80D5-0714-272792A1CAB0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725866" y="1264567"/>
            <a:ext cx="4075239" cy="5057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93774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duct Slide - Flowm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26C788F-F800-573E-EE00-DC5FA046DF1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336" t="8659" r="18284" b="41332"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1C2DF614-21E4-E799-E9E2-19B131DC46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52995" b="75314"/>
          <a:stretch/>
        </p:blipFill>
        <p:spPr>
          <a:xfrm>
            <a:off x="1652145" y="489709"/>
            <a:ext cx="10539855" cy="6368292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485F10A-E66C-4489-AA0B-94914B2089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0078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9" imgH="349" progId="TCLayout.ActiveDocument.1">
                  <p:embed/>
                </p:oleObj>
              </mc:Choice>
              <mc:Fallback>
                <p:oleObj name="think-cell Slide" r:id="rId6" imgW="349" imgH="34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485F10A-E66C-4489-AA0B-94914B2089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0FB9D26C-B153-8D91-1D19-6C087784BA15}"/>
              </a:ext>
            </a:extLst>
          </p:cNvPr>
          <p:cNvSpPr txBox="1"/>
          <p:nvPr userDrawn="1"/>
        </p:nvSpPr>
        <p:spPr>
          <a:xfrm>
            <a:off x="18019059" y="2366682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en-BG" sz="240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40725B6-526F-FA66-46B6-AE1DEAC92B0F}"/>
              </a:ext>
            </a:extLst>
          </p:cNvPr>
          <p:cNvSpPr txBox="1"/>
          <p:nvPr userDrawn="1"/>
        </p:nvSpPr>
        <p:spPr>
          <a:xfrm>
            <a:off x="-12640235" y="-7691718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en-BG" sz="2400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8BB582AD-AB91-4584-8DA9-A1F806BEC41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38972" y="3114914"/>
            <a:ext cx="5261777" cy="674687"/>
          </a:xfrm>
        </p:spPr>
        <p:txBody>
          <a:bodyPr/>
          <a:lstStyle>
            <a:lvl1pPr marL="0" indent="0">
              <a:lnSpc>
                <a:spcPct val="114000"/>
              </a:lnSpc>
              <a:buNone/>
              <a:defRPr sz="2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GB"/>
              <a:t>Subtitle</a:t>
            </a:r>
            <a:endParaRPr lang="en-BG"/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A8B5B4F3-B7F0-D0E4-148A-7531BC17C0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8973" y="1594770"/>
            <a:ext cx="5261778" cy="1199693"/>
          </a:xfrm>
          <a:prstGeom prst="rect">
            <a:avLst/>
          </a:prstGeom>
        </p:spPr>
        <p:txBody>
          <a:bodyPr lIns="0" tIns="108000" rIns="0" bIns="0" anchor="t" anchorCtr="0">
            <a:noAutofit/>
          </a:bodyPr>
          <a:lstStyle>
            <a:lvl1pPr>
              <a:lnSpc>
                <a:spcPct val="85000"/>
              </a:lnSpc>
              <a:defRPr sz="4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BG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6140016C-9431-5015-0CB1-44E7605CA85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63383" y="909286"/>
            <a:ext cx="2577525" cy="344180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66CDA619-DE16-B406-C2EA-511DDF41CC9C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490889" y="2194616"/>
            <a:ext cx="4874589" cy="33555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28959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/Cover Slide Blue +Speaker's Photo">
    <p:bg>
      <p:bgPr>
        <a:solidFill>
          <a:srgbClr val="2921B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467F6EA1-6DE4-7625-D919-6692351DBD2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6" r="116"/>
          <a:stretch/>
        </p:blipFill>
        <p:spPr>
          <a:xfrm>
            <a:off x="-4" y="-2"/>
            <a:ext cx="12192003" cy="6857999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485F10A-E66C-4489-AA0B-94914B2089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41145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9" imgH="349" progId="TCLayout.ActiveDocument.1">
                  <p:embed/>
                </p:oleObj>
              </mc:Choice>
              <mc:Fallback>
                <p:oleObj name="think-cell Slide" r:id="rId4" imgW="349" imgH="34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485F10A-E66C-4489-AA0B-94914B2089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AFE9A584-67A4-F159-B817-D0B9351FB0B6}"/>
              </a:ext>
            </a:extLst>
          </p:cNvPr>
          <p:cNvSpPr txBox="1"/>
          <p:nvPr userDrawn="1"/>
        </p:nvSpPr>
        <p:spPr>
          <a:xfrm>
            <a:off x="-4231758" y="1998921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en-BG" sz="2400">
              <a:solidFill>
                <a:schemeClr val="bg1"/>
              </a:solidFill>
            </a:endParaRPr>
          </a:p>
        </p:txBody>
      </p:sp>
      <p:sp>
        <p:nvSpPr>
          <p:cNvPr id="5" name="Picture Placeholder 1">
            <a:extLst>
              <a:ext uri="{FF2B5EF4-FFF2-40B4-BE49-F238E27FC236}">
                <a16:creationId xmlns:a16="http://schemas.microsoft.com/office/drawing/2014/main" id="{D26A23C4-8FFF-C281-313F-7DAB0943BFC8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738972" y="4116610"/>
            <a:ext cx="1341526" cy="1302685"/>
          </a:xfrm>
          <a:prstGeom prst="ellipse">
            <a:avLst/>
          </a:prstGeom>
          <a:solidFill>
            <a:srgbClr val="DDE9F7"/>
          </a:solidFill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hr-HR"/>
              <a:t>Picture</a:t>
            </a:r>
            <a:endParaRPr lang="en-US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F2C0A766-5D97-8699-F8E5-997B3902E0E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19430" y="4182155"/>
            <a:ext cx="3813855" cy="388554"/>
          </a:xfrm>
        </p:spPr>
        <p:txBody>
          <a:bodyPr tIns="36000" anchor="ctr" anchorCtr="0">
            <a:noAutofit/>
          </a:bodyPr>
          <a:lstStyle>
            <a:lvl1pPr marL="0" indent="0" algn="l">
              <a:lnSpc>
                <a:spcPct val="90000"/>
              </a:lnSpc>
              <a:buNone/>
              <a:defRPr sz="2400" b="1" i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EB34A0B8-9290-70C5-172C-8FE7982E44C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219430" y="4647602"/>
            <a:ext cx="3813855" cy="312131"/>
          </a:xfrm>
        </p:spPr>
        <p:txBody>
          <a:bodyPr tIns="72000" anchor="ctr" anchorCtr="0">
            <a:noAutofit/>
          </a:bodyPr>
          <a:lstStyle>
            <a:lvl1pPr marL="0" indent="0" algn="l">
              <a:lnSpc>
                <a:spcPct val="90000"/>
              </a:lnSpc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peaker Titl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C2B1E544-A739-FF0A-A5FA-D5CFA61D260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19430" y="5107164"/>
            <a:ext cx="3813855" cy="312131"/>
          </a:xfrm>
        </p:spPr>
        <p:txBody>
          <a:bodyPr tIns="72000" anchor="ctr" anchorCtr="0">
            <a:noAutofit/>
          </a:bodyPr>
          <a:lstStyle>
            <a:lvl1pPr marL="0" indent="0" algn="l">
              <a:lnSpc>
                <a:spcPts val="1800"/>
              </a:lnSpc>
              <a:buNone/>
              <a:defRPr sz="1800" b="0" i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7" name="Title 3">
            <a:extLst>
              <a:ext uri="{FF2B5EF4-FFF2-40B4-BE49-F238E27FC236}">
                <a16:creationId xmlns:a16="http://schemas.microsoft.com/office/drawing/2014/main" id="{AF56EA05-C37B-3A3B-43EF-F571B83668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8973" y="1594770"/>
            <a:ext cx="5261778" cy="2073689"/>
          </a:xfrm>
          <a:prstGeom prst="rect">
            <a:avLst/>
          </a:prstGeom>
        </p:spPr>
        <p:txBody>
          <a:bodyPr lIns="0" tIns="108000" rIns="0" bIns="0" anchor="t" anchorCtr="0">
            <a:noAutofit/>
          </a:bodyPr>
          <a:lstStyle>
            <a:lvl1pPr>
              <a:lnSpc>
                <a:spcPct val="85000"/>
              </a:lnSpc>
              <a:defRPr sz="44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Master title style up to three lines of text</a:t>
            </a:r>
            <a:endParaRPr lang="en-BG"/>
          </a:p>
        </p:txBody>
      </p:sp>
      <p:pic>
        <p:nvPicPr>
          <p:cNvPr id="11" name="Picture 3">
            <a:extLst>
              <a:ext uri="{FF2B5EF4-FFF2-40B4-BE49-F238E27FC236}">
                <a16:creationId xmlns:a16="http://schemas.microsoft.com/office/drawing/2014/main" id="{04723042-2F90-D0B4-E1EF-ECC12ED2CB9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425041" y="769600"/>
            <a:ext cx="1342800" cy="3114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47273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duct Slide - WhatsUp Go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08821DFF-6A5A-61F7-937D-D2B7D21EA7B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336" t="8659" r="18284" b="41332"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2FA95362-08B9-A5A6-D0CA-9E054A56BA3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50752" b="74948"/>
          <a:stretch/>
        </p:blipFill>
        <p:spPr>
          <a:xfrm>
            <a:off x="1774015" y="759879"/>
            <a:ext cx="10417986" cy="6098121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485F10A-E66C-4489-AA0B-94914B2089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0078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9" imgH="349" progId="TCLayout.ActiveDocument.1">
                  <p:embed/>
                </p:oleObj>
              </mc:Choice>
              <mc:Fallback>
                <p:oleObj name="think-cell Slide" r:id="rId6" imgW="349" imgH="34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485F10A-E66C-4489-AA0B-94914B2089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0FB9D26C-B153-8D91-1D19-6C087784BA15}"/>
              </a:ext>
            </a:extLst>
          </p:cNvPr>
          <p:cNvSpPr txBox="1"/>
          <p:nvPr userDrawn="1"/>
        </p:nvSpPr>
        <p:spPr>
          <a:xfrm>
            <a:off x="18019059" y="2366682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en-BG" sz="240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40725B6-526F-FA66-46B6-AE1DEAC92B0F}"/>
              </a:ext>
            </a:extLst>
          </p:cNvPr>
          <p:cNvSpPr txBox="1"/>
          <p:nvPr userDrawn="1"/>
        </p:nvSpPr>
        <p:spPr>
          <a:xfrm>
            <a:off x="-12640235" y="-7691718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en-BG" sz="2400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8BB582AD-AB91-4584-8DA9-A1F806BEC41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38972" y="3114914"/>
            <a:ext cx="5525903" cy="674687"/>
          </a:xfrm>
        </p:spPr>
        <p:txBody>
          <a:bodyPr/>
          <a:lstStyle>
            <a:lvl1pPr marL="0" indent="0">
              <a:lnSpc>
                <a:spcPct val="114000"/>
              </a:lnSpc>
              <a:buNone/>
              <a:defRPr sz="2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GB"/>
              <a:t>Subtitle</a:t>
            </a:r>
            <a:endParaRPr lang="en-BG"/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A8B5B4F3-B7F0-D0E4-148A-7531BC17C0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8972" y="1594770"/>
            <a:ext cx="5525903" cy="1199693"/>
          </a:xfrm>
          <a:prstGeom prst="rect">
            <a:avLst/>
          </a:prstGeom>
        </p:spPr>
        <p:txBody>
          <a:bodyPr lIns="0" tIns="108000" rIns="0" bIns="0" anchor="t" anchorCtr="0">
            <a:noAutofit/>
          </a:bodyPr>
          <a:lstStyle>
            <a:lvl1pPr>
              <a:lnSpc>
                <a:spcPct val="85000"/>
              </a:lnSpc>
              <a:defRPr sz="4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</a:t>
            </a:r>
            <a:r>
              <a:rPr lang="en-GB" err="1"/>
              <a:t>WhatsUp</a:t>
            </a:r>
            <a:r>
              <a:rPr lang="en-GB"/>
              <a:t> Gold title slide</a:t>
            </a:r>
            <a:endParaRPr lang="en-BG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684500C3-5D01-CCFB-C6CF-1C2646346F56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69561" y="914328"/>
            <a:ext cx="3070390" cy="338646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C2372DCE-8110-6F40-EBB4-FA94D9D35114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86362" y="1594770"/>
            <a:ext cx="4464237" cy="38666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987774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vic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A picture containing monitor, sign, image&#10;&#10;Description automatically generated">
            <a:extLst>
              <a:ext uri="{FF2B5EF4-FFF2-40B4-BE49-F238E27FC236}">
                <a16:creationId xmlns:a16="http://schemas.microsoft.com/office/drawing/2014/main" id="{B83B3395-67D9-4AB8-A1E3-B575F3E781E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24595" y="1013947"/>
            <a:ext cx="3749569" cy="5688684"/>
          </a:xfrm>
          <a:prstGeom prst="rect">
            <a:avLst/>
          </a:prstGeom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4A9FECE-88BD-4E0E-823B-5AC910E016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7158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9" imgH="349" progId="TCLayout.ActiveDocument.1">
                  <p:embed/>
                </p:oleObj>
              </mc:Choice>
              <mc:Fallback>
                <p:oleObj name="think-cell Slide" r:id="rId4" imgW="349" imgH="34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B4A9FECE-88BD-4E0E-823B-5AC910E016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1A6A2EB-C007-674C-8E69-6C79B0FB268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614319" y="1596597"/>
            <a:ext cx="2117320" cy="4476211"/>
          </a:xfrm>
          <a:prstGeom prst="roundRect">
            <a:avLst>
              <a:gd name="adj" fmla="val 6282"/>
            </a:avLst>
          </a:prstGeo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GB"/>
              <a:t>Click icon to add picture</a:t>
            </a:r>
            <a:endParaRPr lang="en-BG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6079D94-19FF-40CF-8E06-0742826496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3600" y="538163"/>
            <a:ext cx="7101188" cy="909637"/>
          </a:xfrm>
        </p:spPr>
        <p:txBody>
          <a:bodyPr vert="horz" tIns="108000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FCA987EE-7350-2B4B-8672-83FFC0B677D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49800" y="1814513"/>
            <a:ext cx="7100888" cy="4487862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BG"/>
          </a:p>
        </p:txBody>
      </p:sp>
    </p:spTree>
    <p:extLst>
      <p:ext uri="{BB962C8B-B14F-4D97-AF65-F5344CB8AC3E}">
        <p14:creationId xmlns:p14="http://schemas.microsoft.com/office/powerpoint/2010/main" val="371514403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vic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white rectangle with a black border&#10;&#10;Description automatically generated with low confidence">
            <a:extLst>
              <a:ext uri="{FF2B5EF4-FFF2-40B4-BE49-F238E27FC236}">
                <a16:creationId xmlns:a16="http://schemas.microsoft.com/office/drawing/2014/main" id="{C5ECD0FE-2ED1-4928-B92D-74BEACD661D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16220" y="1055183"/>
            <a:ext cx="3981988" cy="5058538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B6404B3-022F-4D45-9605-06043B6213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612683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9" imgH="349" progId="TCLayout.ActiveDocument.1">
                  <p:embed/>
                </p:oleObj>
              </mc:Choice>
              <mc:Fallback>
                <p:oleObj name="think-cell Slide" r:id="rId4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B6404B3-022F-4D45-9605-06043B6213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6268EACE-40BB-EF42-B881-18934B17702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8145294" y="1425575"/>
            <a:ext cx="3207290" cy="4213225"/>
          </a:xfrm>
          <a:prstGeom prst="roundRect">
            <a:avLst>
              <a:gd name="adj" fmla="val 2256"/>
            </a:avLst>
          </a:prstGeo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BG"/>
              <a:t>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B67F745-3584-418D-B0D8-CCF5FBA6B4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3600" y="538163"/>
            <a:ext cx="7101187" cy="909637"/>
          </a:xfrm>
        </p:spPr>
        <p:txBody>
          <a:bodyPr vert="horz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8F34FFA2-252D-004A-AF06-A7B70F953E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49800" y="1814513"/>
            <a:ext cx="7100888" cy="4487862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BG"/>
          </a:p>
        </p:txBody>
      </p:sp>
    </p:spTree>
    <p:extLst>
      <p:ext uri="{BB962C8B-B14F-4D97-AF65-F5344CB8AC3E}">
        <p14:creationId xmlns:p14="http://schemas.microsoft.com/office/powerpoint/2010/main" val="349666155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evic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text, monitor, computer, indoor&#10;&#10;Description automatically generated">
            <a:extLst>
              <a:ext uri="{FF2B5EF4-FFF2-40B4-BE49-F238E27FC236}">
                <a16:creationId xmlns:a16="http://schemas.microsoft.com/office/drawing/2014/main" id="{9B81FD91-4A2E-451C-B885-D59344023EA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40733" y="1827465"/>
            <a:ext cx="6845861" cy="4368549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5A3F742-CB85-4FD4-A00B-55543C95BF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96075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9" imgH="349" progId="TCLayout.ActiveDocument.1">
                  <p:embed/>
                </p:oleObj>
              </mc:Choice>
              <mc:Fallback>
                <p:oleObj name="think-cell Slide" r:id="rId4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5A3F742-CB85-4FD4-A00B-55543C95BF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EFC4350C-F84D-A740-B1F8-C01DFE4C2921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262851" y="2140169"/>
            <a:ext cx="5147441" cy="3346231"/>
          </a:xfrm>
          <a:custGeom>
            <a:avLst/>
            <a:gdLst>
              <a:gd name="connsiteX0" fmla="*/ 0 w 5114428"/>
              <a:gd name="connsiteY0" fmla="*/ 68943 h 3335396"/>
              <a:gd name="connsiteX1" fmla="*/ 68943 w 5114428"/>
              <a:gd name="connsiteY1" fmla="*/ 0 h 3335396"/>
              <a:gd name="connsiteX2" fmla="*/ 5045485 w 5114428"/>
              <a:gd name="connsiteY2" fmla="*/ 0 h 3335396"/>
              <a:gd name="connsiteX3" fmla="*/ 5114428 w 5114428"/>
              <a:gd name="connsiteY3" fmla="*/ 68943 h 3335396"/>
              <a:gd name="connsiteX4" fmla="*/ 5114428 w 5114428"/>
              <a:gd name="connsiteY4" fmla="*/ 3266453 h 3335396"/>
              <a:gd name="connsiteX5" fmla="*/ 5045485 w 5114428"/>
              <a:gd name="connsiteY5" fmla="*/ 3335396 h 3335396"/>
              <a:gd name="connsiteX6" fmla="*/ 68943 w 5114428"/>
              <a:gd name="connsiteY6" fmla="*/ 3335396 h 3335396"/>
              <a:gd name="connsiteX7" fmla="*/ 0 w 5114428"/>
              <a:gd name="connsiteY7" fmla="*/ 3266453 h 3335396"/>
              <a:gd name="connsiteX8" fmla="*/ 0 w 5114428"/>
              <a:gd name="connsiteY8" fmla="*/ 68943 h 3335396"/>
              <a:gd name="connsiteX0" fmla="*/ 0 w 5114428"/>
              <a:gd name="connsiteY0" fmla="*/ 68943 h 3335396"/>
              <a:gd name="connsiteX1" fmla="*/ 68943 w 5114428"/>
              <a:gd name="connsiteY1" fmla="*/ 0 h 3335396"/>
              <a:gd name="connsiteX2" fmla="*/ 5045485 w 5114428"/>
              <a:gd name="connsiteY2" fmla="*/ 0 h 3335396"/>
              <a:gd name="connsiteX3" fmla="*/ 5114428 w 5114428"/>
              <a:gd name="connsiteY3" fmla="*/ 68943 h 3335396"/>
              <a:gd name="connsiteX4" fmla="*/ 5114428 w 5114428"/>
              <a:gd name="connsiteY4" fmla="*/ 3266453 h 3335396"/>
              <a:gd name="connsiteX5" fmla="*/ 5045485 w 5114428"/>
              <a:gd name="connsiteY5" fmla="*/ 3335396 h 3335396"/>
              <a:gd name="connsiteX6" fmla="*/ 0 w 5114428"/>
              <a:gd name="connsiteY6" fmla="*/ 3266453 h 3335396"/>
              <a:gd name="connsiteX7" fmla="*/ 0 w 5114428"/>
              <a:gd name="connsiteY7" fmla="*/ 68943 h 3335396"/>
              <a:gd name="connsiteX0" fmla="*/ 0 w 5114428"/>
              <a:gd name="connsiteY0" fmla="*/ 68943 h 3666141"/>
              <a:gd name="connsiteX1" fmla="*/ 68943 w 5114428"/>
              <a:gd name="connsiteY1" fmla="*/ 0 h 3666141"/>
              <a:gd name="connsiteX2" fmla="*/ 5045485 w 5114428"/>
              <a:gd name="connsiteY2" fmla="*/ 0 h 3666141"/>
              <a:gd name="connsiteX3" fmla="*/ 5114428 w 5114428"/>
              <a:gd name="connsiteY3" fmla="*/ 68943 h 3666141"/>
              <a:gd name="connsiteX4" fmla="*/ 5114428 w 5114428"/>
              <a:gd name="connsiteY4" fmla="*/ 3266453 h 3666141"/>
              <a:gd name="connsiteX5" fmla="*/ 0 w 5114428"/>
              <a:gd name="connsiteY5" fmla="*/ 3266453 h 3666141"/>
              <a:gd name="connsiteX6" fmla="*/ 0 w 5114428"/>
              <a:gd name="connsiteY6" fmla="*/ 68943 h 3666141"/>
              <a:gd name="connsiteX0" fmla="*/ 0 w 5114508"/>
              <a:gd name="connsiteY0" fmla="*/ 68943 h 3500635"/>
              <a:gd name="connsiteX1" fmla="*/ 68943 w 5114508"/>
              <a:gd name="connsiteY1" fmla="*/ 0 h 3500635"/>
              <a:gd name="connsiteX2" fmla="*/ 5045485 w 5114508"/>
              <a:gd name="connsiteY2" fmla="*/ 0 h 3500635"/>
              <a:gd name="connsiteX3" fmla="*/ 5114428 w 5114508"/>
              <a:gd name="connsiteY3" fmla="*/ 68943 h 3500635"/>
              <a:gd name="connsiteX4" fmla="*/ 5114428 w 5114508"/>
              <a:gd name="connsiteY4" fmla="*/ 3266453 h 3500635"/>
              <a:gd name="connsiteX5" fmla="*/ 0 w 5114508"/>
              <a:gd name="connsiteY5" fmla="*/ 3266453 h 3500635"/>
              <a:gd name="connsiteX6" fmla="*/ 0 w 5114508"/>
              <a:gd name="connsiteY6" fmla="*/ 68943 h 3500635"/>
              <a:gd name="connsiteX0" fmla="*/ 0 w 5114560"/>
              <a:gd name="connsiteY0" fmla="*/ 68943 h 3266453"/>
              <a:gd name="connsiteX1" fmla="*/ 68943 w 5114560"/>
              <a:gd name="connsiteY1" fmla="*/ 0 h 3266453"/>
              <a:gd name="connsiteX2" fmla="*/ 5045485 w 5114560"/>
              <a:gd name="connsiteY2" fmla="*/ 0 h 3266453"/>
              <a:gd name="connsiteX3" fmla="*/ 5114428 w 5114560"/>
              <a:gd name="connsiteY3" fmla="*/ 68943 h 3266453"/>
              <a:gd name="connsiteX4" fmla="*/ 5114428 w 5114560"/>
              <a:gd name="connsiteY4" fmla="*/ 3266453 h 3266453"/>
              <a:gd name="connsiteX5" fmla="*/ 0 w 5114560"/>
              <a:gd name="connsiteY5" fmla="*/ 3266453 h 3266453"/>
              <a:gd name="connsiteX6" fmla="*/ 0 w 5114560"/>
              <a:gd name="connsiteY6" fmla="*/ 68943 h 3266453"/>
              <a:gd name="connsiteX0" fmla="*/ 0 w 5114428"/>
              <a:gd name="connsiteY0" fmla="*/ 68943 h 3266453"/>
              <a:gd name="connsiteX1" fmla="*/ 68943 w 5114428"/>
              <a:gd name="connsiteY1" fmla="*/ 0 h 3266453"/>
              <a:gd name="connsiteX2" fmla="*/ 5045485 w 5114428"/>
              <a:gd name="connsiteY2" fmla="*/ 0 h 3266453"/>
              <a:gd name="connsiteX3" fmla="*/ 5114428 w 5114428"/>
              <a:gd name="connsiteY3" fmla="*/ 68943 h 3266453"/>
              <a:gd name="connsiteX4" fmla="*/ 5114428 w 5114428"/>
              <a:gd name="connsiteY4" fmla="*/ 3266453 h 3266453"/>
              <a:gd name="connsiteX5" fmla="*/ 0 w 5114428"/>
              <a:gd name="connsiteY5" fmla="*/ 3266453 h 3266453"/>
              <a:gd name="connsiteX6" fmla="*/ 0 w 5114428"/>
              <a:gd name="connsiteY6" fmla="*/ 68943 h 32664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114428" h="3266453">
                <a:moveTo>
                  <a:pt x="0" y="68943"/>
                </a:moveTo>
                <a:cubicBezTo>
                  <a:pt x="0" y="30867"/>
                  <a:pt x="30867" y="0"/>
                  <a:pt x="68943" y="0"/>
                </a:cubicBezTo>
                <a:lnTo>
                  <a:pt x="5045485" y="0"/>
                </a:lnTo>
                <a:cubicBezTo>
                  <a:pt x="5083561" y="0"/>
                  <a:pt x="5114428" y="30867"/>
                  <a:pt x="5114428" y="68943"/>
                </a:cubicBezTo>
                <a:lnTo>
                  <a:pt x="5114428" y="3266453"/>
                </a:lnTo>
                <a:lnTo>
                  <a:pt x="0" y="3266453"/>
                </a:lnTo>
                <a:lnTo>
                  <a:pt x="0" y="68943"/>
                </a:lnTo>
                <a:close/>
              </a:path>
            </a:pathLst>
          </a:custGeo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BG"/>
              <a:t>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936A15B-581A-43DD-9565-BC274543FC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3600" y="538163"/>
            <a:ext cx="8009238" cy="909637"/>
          </a:xfrm>
        </p:spPr>
        <p:txBody>
          <a:bodyPr vert="horz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2C1495B0-558E-4749-9AA1-C0D15CB0317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49800" y="1814513"/>
            <a:ext cx="4887429" cy="4487862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BG"/>
          </a:p>
        </p:txBody>
      </p:sp>
    </p:spTree>
    <p:extLst>
      <p:ext uri="{BB962C8B-B14F-4D97-AF65-F5344CB8AC3E}">
        <p14:creationId xmlns:p14="http://schemas.microsoft.com/office/powerpoint/2010/main" val="292174940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Devic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text, monitor, screenshot, electronics&#10;&#10;Description automatically generated">
            <a:extLst>
              <a:ext uri="{FF2B5EF4-FFF2-40B4-BE49-F238E27FC236}">
                <a16:creationId xmlns:a16="http://schemas.microsoft.com/office/drawing/2014/main" id="{B56FEB53-D4A3-4EC0-AFB5-0C95253A53E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61591" y="1527801"/>
            <a:ext cx="5723589" cy="4958781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E722239-0864-4539-8D4E-F84B76F85F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04940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9" imgH="349" progId="TCLayout.ActiveDocument.1">
                  <p:embed/>
                </p:oleObj>
              </mc:Choice>
              <mc:Fallback>
                <p:oleObj name="think-cell Slide" r:id="rId4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E722239-0864-4539-8D4E-F84B76F85F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C97B4E9E-F000-6B4D-A13B-EE7F4EA8E70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300281" y="1828801"/>
            <a:ext cx="5051898" cy="2850506"/>
          </a:xfrm>
          <a:prstGeom prst="roundRect">
            <a:avLst>
              <a:gd name="adj" fmla="val 0"/>
            </a:avLst>
          </a:prstGeo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BG"/>
              <a:t>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219634F-977E-4F2E-8291-F2190948E8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3600" y="538163"/>
            <a:ext cx="8009238" cy="909637"/>
          </a:xfrm>
        </p:spPr>
        <p:txBody>
          <a:bodyPr vert="horz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376BFD9F-FFAD-A74E-896E-712D65C4B24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49800" y="1814513"/>
            <a:ext cx="5250950" cy="4487862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BG"/>
          </a:p>
        </p:txBody>
      </p:sp>
    </p:spTree>
    <p:extLst>
      <p:ext uri="{BB962C8B-B14F-4D97-AF65-F5344CB8AC3E}">
        <p14:creationId xmlns:p14="http://schemas.microsoft.com/office/powerpoint/2010/main" val="180617099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A3A64ED-6E44-CE40-884C-C1F3360861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30519" y="2877420"/>
            <a:ext cx="4730962" cy="11031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84708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rogress Outro no text.mp4" descr="Progress Outro no text.mp4">
            <a:hlinkClick r:id="" action="ppaction://media"/>
            <a:extLst>
              <a:ext uri="{FF2B5EF4-FFF2-40B4-BE49-F238E27FC236}">
                <a16:creationId xmlns:a16="http://schemas.microsoft.com/office/drawing/2014/main" id="{5A546D01-834F-CB40-93EC-185C473ACE24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BABA8C2F-EEB5-964C-B283-39542BF4C40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30519" y="2877420"/>
            <a:ext cx="4730962" cy="11031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71157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8" dur="6016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9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</p:childTnLst>
        </p:cTn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/Cover Slide with Heli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485F10A-E66C-4489-AA0B-94914B2089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41145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485F10A-E66C-4489-AA0B-94914B2089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B1AA0DB6-5A8E-3741-A2E5-D936D902DDC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38974" y="4203805"/>
            <a:ext cx="3361540" cy="747293"/>
          </a:xfrm>
        </p:spPr>
        <p:txBody>
          <a:bodyPr tIns="36000" anchor="ctr" anchorCtr="0">
            <a:noAutofit/>
          </a:bodyPr>
          <a:lstStyle>
            <a:lvl1pPr marL="0" indent="0" algn="l">
              <a:lnSpc>
                <a:spcPct val="90000"/>
              </a:lnSpc>
              <a:buNone/>
              <a:defRPr sz="2400" b="1" i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ED3701CF-5DFA-EE46-92C6-82EBEFFD83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38973" y="4951099"/>
            <a:ext cx="5278437" cy="312131"/>
          </a:xfrm>
        </p:spPr>
        <p:txBody>
          <a:bodyPr tIns="72000" anchor="ctr" anchorCtr="0">
            <a:noAutofit/>
          </a:bodyPr>
          <a:lstStyle>
            <a:lvl1pPr marL="0" indent="0" algn="l">
              <a:lnSpc>
                <a:spcPct val="90000"/>
              </a:lnSpc>
              <a:buNone/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peaker Title</a:t>
            </a:r>
          </a:p>
        </p:txBody>
      </p:sp>
      <p:sp>
        <p:nvSpPr>
          <p:cNvPr id="28" name="Title 3">
            <a:extLst>
              <a:ext uri="{FF2B5EF4-FFF2-40B4-BE49-F238E27FC236}">
                <a16:creationId xmlns:a16="http://schemas.microsoft.com/office/drawing/2014/main" id="{9EE63D74-8A47-0A4F-A4FD-DE60CD33AB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8973" y="1594770"/>
            <a:ext cx="5261778" cy="1199693"/>
          </a:xfrm>
          <a:prstGeom prst="rect">
            <a:avLst/>
          </a:prstGeom>
        </p:spPr>
        <p:txBody>
          <a:bodyPr lIns="0" tIns="108000" rIns="0" bIns="0" anchor="t" anchorCtr="0">
            <a:noAutofit/>
          </a:bodyPr>
          <a:lstStyle>
            <a:lvl1pPr>
              <a:lnSpc>
                <a:spcPct val="85000"/>
              </a:lnSpc>
              <a:defRPr sz="4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BG"/>
          </a:p>
        </p:txBody>
      </p:sp>
      <p:pic>
        <p:nvPicPr>
          <p:cNvPr id="13" name="Picture 2">
            <a:extLst>
              <a:ext uri="{FF2B5EF4-FFF2-40B4-BE49-F238E27FC236}">
                <a16:creationId xmlns:a16="http://schemas.microsoft.com/office/drawing/2014/main" id="{77BE795C-072A-459C-8648-8D68BC93FAA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426315" y="745314"/>
            <a:ext cx="1341526" cy="311178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6B76E93-9883-F34D-AFCA-0B3B5698689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38973" y="3356068"/>
            <a:ext cx="5294312" cy="674687"/>
          </a:xfrm>
        </p:spPr>
        <p:txBody>
          <a:bodyPr/>
          <a:lstStyle>
            <a:lvl1pPr marL="0" indent="0">
              <a:lnSpc>
                <a:spcPct val="114000"/>
              </a:lnSpc>
              <a:buNone/>
              <a:defRPr sz="2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GB" err="1"/>
              <a:t>Subheadline</a:t>
            </a:r>
            <a:endParaRPr lang="en-BG"/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44386448-892A-916A-0C47-8B8882ABC1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43721" y="6077641"/>
            <a:ext cx="2697910" cy="313798"/>
          </a:xfrm>
        </p:spPr>
        <p:txBody>
          <a:bodyPr tIns="72000" anchor="ctr" anchorCtr="0">
            <a:noAutofit/>
          </a:bodyPr>
          <a:lstStyle>
            <a:lvl1pPr marL="0" indent="0" algn="l">
              <a:lnSpc>
                <a:spcPts val="1800"/>
              </a:lnSpc>
              <a:buNone/>
              <a:defRPr sz="1800" b="0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115E27F-2DFC-A10F-B84C-AA509A7E6567}"/>
              </a:ext>
            </a:extLst>
          </p:cNvPr>
          <p:cNvSpPr txBox="1"/>
          <p:nvPr userDrawn="1"/>
        </p:nvSpPr>
        <p:spPr>
          <a:xfrm>
            <a:off x="10317892" y="5535827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en-BG" sz="240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6659C89-8D3D-2226-97A2-B82314DE9E3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577904"/>
            <a:ext cx="12187787" cy="6280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15230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ue No speaker info">
    <p:bg>
      <p:bgPr>
        <a:solidFill>
          <a:srgbClr val="2921B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3820F667-9E80-508A-E083-BC5B5FCFF22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1" cy="6836897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485F10A-E66C-4489-AA0B-94914B2089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0078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9" imgH="349" progId="TCLayout.ActiveDocument.1">
                  <p:embed/>
                </p:oleObj>
              </mc:Choice>
              <mc:Fallback>
                <p:oleObj name="think-cell Slide" r:id="rId4" imgW="349" imgH="34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485F10A-E66C-4489-AA0B-94914B2089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3">
            <a:extLst>
              <a:ext uri="{FF2B5EF4-FFF2-40B4-BE49-F238E27FC236}">
                <a16:creationId xmlns:a16="http://schemas.microsoft.com/office/drawing/2014/main" id="{A41AE411-511D-8146-8417-A7B559E66E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80346" y="3736975"/>
            <a:ext cx="5261778" cy="1383817"/>
          </a:xfrm>
          <a:prstGeom prst="rect">
            <a:avLst/>
          </a:prstGeom>
        </p:spPr>
        <p:txBody>
          <a:bodyPr vert="horz" lIns="0" tIns="108000" rIns="0" bIns="0" anchor="t" anchorCtr="0">
            <a:noAutofit/>
          </a:bodyPr>
          <a:lstStyle>
            <a:lvl1pPr>
              <a:lnSpc>
                <a:spcPct val="80000"/>
              </a:lnSpc>
              <a:defRPr sz="4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Headline Up to</a:t>
            </a:r>
            <a:br>
              <a:rPr lang="en-GB"/>
            </a:br>
            <a:r>
              <a:rPr lang="en-GB"/>
              <a:t>Three </a:t>
            </a:r>
            <a:br>
              <a:rPr lang="en-GB"/>
            </a:br>
            <a:r>
              <a:rPr lang="en-GB"/>
              <a:t>Lines</a:t>
            </a:r>
            <a:endParaRPr lang="en-BG"/>
          </a:p>
        </p:txBody>
      </p:sp>
      <p:pic>
        <p:nvPicPr>
          <p:cNvPr id="12" name="Picture 3">
            <a:extLst>
              <a:ext uri="{FF2B5EF4-FFF2-40B4-BE49-F238E27FC236}">
                <a16:creationId xmlns:a16="http://schemas.microsoft.com/office/drawing/2014/main" id="{5FFB1DD7-A134-4800-A20B-F8CB2D63D44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1076020" y="3272915"/>
            <a:ext cx="1342800" cy="311474"/>
          </a:xfrm>
          <a:prstGeom prst="rect">
            <a:avLst/>
          </a:prstGeom>
        </p:spPr>
      </p:pic>
      <p:sp>
        <p:nvSpPr>
          <p:cNvPr id="8" name="Rectangle 6">
            <a:extLst>
              <a:ext uri="{FF2B5EF4-FFF2-40B4-BE49-F238E27FC236}">
                <a16:creationId xmlns:a16="http://schemas.microsoft.com/office/drawing/2014/main" id="{EC20BF15-B521-4443-B82F-AD15675E6FEF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372017" y="5273378"/>
            <a:ext cx="5278437" cy="441487"/>
          </a:xfrm>
          <a:prstGeom prst="rect">
            <a:avLst/>
          </a:prstGeom>
          <a:ln algn="ctr"/>
        </p:spPr>
        <p:txBody>
          <a:bodyPr lIns="0" tIns="0" rIns="0" bIns="0" anchor="ctr" anchorCtr="0"/>
          <a:lstStyle>
            <a:lvl1pPr marL="0" indent="0">
              <a:buClrTx/>
              <a:buFontTx/>
              <a:buNone/>
              <a:defRPr sz="2400" i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defRPr>
            </a:lvl1pPr>
          </a:lstStyle>
          <a:p>
            <a:r>
              <a:rPr lang="en-US"/>
              <a:t>Subtitle Goes Her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FB9D26C-B153-8D91-1D19-6C087784BA15}"/>
              </a:ext>
            </a:extLst>
          </p:cNvPr>
          <p:cNvSpPr txBox="1"/>
          <p:nvPr userDrawn="1"/>
        </p:nvSpPr>
        <p:spPr>
          <a:xfrm>
            <a:off x="18019059" y="2366682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en-BG" sz="240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40725B6-526F-FA66-46B6-AE1DEAC92B0F}"/>
              </a:ext>
            </a:extLst>
          </p:cNvPr>
          <p:cNvSpPr txBox="1"/>
          <p:nvPr userDrawn="1"/>
        </p:nvSpPr>
        <p:spPr>
          <a:xfrm>
            <a:off x="-12640235" y="-7691718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en-BG" sz="240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E170491-DF1C-BF09-E773-7F3EDD67167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5628" t="21844" r="49798" b="53049"/>
          <a:stretch/>
        </p:blipFill>
        <p:spPr>
          <a:xfrm>
            <a:off x="5104016" y="2835171"/>
            <a:ext cx="7079672" cy="40228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56406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 1">
    <p:bg>
      <p:bgPr>
        <a:solidFill>
          <a:srgbClr val="2921B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BE545AB9-45E7-63BB-2CA1-D0E72871F6E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543" r="1543"/>
          <a:stretch/>
        </p:blipFill>
        <p:spPr>
          <a:xfrm>
            <a:off x="0" y="0"/>
            <a:ext cx="12192003" cy="6858002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D33DD2E0-168B-3C9E-6B5B-E07AB1DB82E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309" r="46333" b="48607"/>
          <a:stretch/>
        </p:blipFill>
        <p:spPr>
          <a:xfrm>
            <a:off x="2762776" y="0"/>
            <a:ext cx="9582874" cy="6858002"/>
          </a:xfrm>
          <a:prstGeom prst="rect">
            <a:avLst/>
          </a:prstGeom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CB40B33-A7C9-794A-8DD4-F029935874E2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6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1" smtClean="0">
                <a:solidFill>
                  <a:schemeClr val="bg1">
                    <a:alpha val="69766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1">
              <a:solidFill>
                <a:schemeClr val="bg1">
                  <a:alpha val="69766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86C245B-9648-EA4E-836E-6BBB5FA39829}"/>
              </a:ext>
            </a:extLst>
          </p:cNvPr>
          <p:cNvSpPr txBox="1"/>
          <p:nvPr userDrawn="1"/>
        </p:nvSpPr>
        <p:spPr>
          <a:xfrm>
            <a:off x="4507424" y="6554397"/>
            <a:ext cx="3177152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600" b="0" spc="0" baseline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4 </a:t>
            </a:r>
            <a:r>
              <a:rPr lang="en-US" sz="600" b="0" i="0" spc="0" baseline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r>
              <a:rPr lang="en-US" sz="600" b="0" spc="0" baseline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ftware Corporation and/or its subsidiaries or affiliates. All rights reserved.</a:t>
            </a:r>
          </a:p>
        </p:txBody>
      </p:sp>
      <p:sp>
        <p:nvSpPr>
          <p:cNvPr id="2" name="Rectangle 3">
            <a:extLst>
              <a:ext uri="{FF2B5EF4-FFF2-40B4-BE49-F238E27FC236}">
                <a16:creationId xmlns:a16="http://schemas.microsoft.com/office/drawing/2014/main" id="{BCB04082-9BDB-31FF-09E3-BCCE765EF811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 bwMode="auto">
          <a:xfrm>
            <a:off x="2609126" y="2592388"/>
            <a:ext cx="6973747" cy="1606550"/>
          </a:xfrm>
          <a:prstGeom prst="rect">
            <a:avLst/>
          </a:prstGeom>
          <a:ln algn="ctr"/>
        </p:spPr>
        <p:txBody>
          <a:bodyPr vert="horz" lIns="0" tIns="0" rIns="0" bIns="0" anchor="ctr" anchorCtr="0">
            <a:noAutofit/>
          </a:bodyPr>
          <a:lstStyle>
            <a:lvl1pPr algn="ctr">
              <a:lnSpc>
                <a:spcPct val="85000"/>
              </a:lnSpc>
              <a:defRPr sz="4000" b="1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defRPr>
            </a:lvl1pPr>
          </a:lstStyle>
          <a:p>
            <a:r>
              <a:rPr lang="en-US"/>
              <a:t>Centered Title Style</a:t>
            </a:r>
            <a:br>
              <a:rPr lang="en-US"/>
            </a:br>
            <a:r>
              <a:rPr lang="en-US"/>
              <a:t>Up to</a:t>
            </a:r>
            <a:br>
              <a:rPr lang="en-US"/>
            </a:br>
            <a:r>
              <a:rPr lang="en-US"/>
              <a:t>Three Lines</a:t>
            </a:r>
          </a:p>
        </p:txBody>
      </p:sp>
      <p:pic>
        <p:nvPicPr>
          <p:cNvPr id="3" name="Picture 3">
            <a:extLst>
              <a:ext uri="{FF2B5EF4-FFF2-40B4-BE49-F238E27FC236}">
                <a16:creationId xmlns:a16="http://schemas.microsoft.com/office/drawing/2014/main" id="{4673F1BD-AAA3-D8FF-20C1-E7CF655A0A3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494075" y="6445423"/>
            <a:ext cx="939600" cy="217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1629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slideLayout" Target="../slideLayouts/slideLayout63.xml"/><Relationship Id="rId68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71" Type="http://schemas.openxmlformats.org/officeDocument/2006/relationships/hyperlink" Target="https://www.progress.com/" TargetMode="Externa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61" Type="http://schemas.openxmlformats.org/officeDocument/2006/relationships/slideLayout" Target="../slideLayouts/slideLayout6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image" Target="../media/image3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theme" Target="../theme/theme1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AD4BAA7-03DD-44E7-AAFA-2970D3D54D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8"/>
            </p:custDataLst>
            <p:extLst>
              <p:ext uri="{D42A27DB-BD31-4B8C-83A1-F6EECF244321}">
                <p14:modId xmlns:p14="http://schemas.microsoft.com/office/powerpoint/2010/main" val="27971184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9" imgW="349" imgH="349" progId="TCLayout.ActiveDocument.1">
                  <p:embed/>
                </p:oleObj>
              </mc:Choice>
              <mc:Fallback>
                <p:oleObj name="think-cell Slide" r:id="rId69" imgW="349" imgH="34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AD4BAA7-03DD-44E7-AAFA-2970D3D54D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7A4882C-43B6-4419-AD7D-B146CF7A77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23600" y="1677989"/>
            <a:ext cx="10746088" cy="453699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bg-BG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 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6TH LEVEL</a:t>
            </a:r>
          </a:p>
          <a:p>
            <a:pPr lvl="4"/>
            <a:endParaRPr lang="en-US"/>
          </a:p>
        </p:txBody>
      </p:sp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736C8E14-F9BC-E647-849A-249E89A17F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3600" y="365281"/>
            <a:ext cx="10746088" cy="1312708"/>
          </a:xfrm>
          <a:prstGeom prst="rect">
            <a:avLst/>
          </a:prstGeom>
        </p:spPr>
        <p:txBody>
          <a:bodyPr vert="horz" lIns="0" tIns="108000" rIns="0" bIns="0" rtlCol="0" anchor="t" anchorCtr="0">
            <a:noAutofit/>
          </a:bodyPr>
          <a:lstStyle/>
          <a:p>
            <a:endParaRPr lang="en-BG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B7AB045D-1123-C741-B93A-5E364D752A5C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6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0" i="0" smtClean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0" i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D00406F-91C3-374E-A473-E987487E33DA}"/>
              </a:ext>
            </a:extLst>
          </p:cNvPr>
          <p:cNvSpPr txBox="1"/>
          <p:nvPr userDrawn="1"/>
        </p:nvSpPr>
        <p:spPr>
          <a:xfrm>
            <a:off x="4507424" y="6554397"/>
            <a:ext cx="3177152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600" b="0" spc="0" baseline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4 </a:t>
            </a:r>
            <a:r>
              <a:rPr lang="en-US" sz="600" b="0" i="0" spc="0" baseline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r>
              <a:rPr lang="en-US" sz="600" b="0" spc="0" baseline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ftware Corporation and/or its subsidiaries or affiliates. All rights reserved.</a:t>
            </a:r>
          </a:p>
        </p:txBody>
      </p:sp>
      <p:pic>
        <p:nvPicPr>
          <p:cNvPr id="9" name="Picture 2">
            <a:hlinkClick r:id="rId71"/>
            <a:extLst>
              <a:ext uri="{FF2B5EF4-FFF2-40B4-BE49-F238E27FC236}">
                <a16:creationId xmlns:a16="http://schemas.microsoft.com/office/drawing/2014/main" id="{C68807BC-3337-44CB-B44B-34553DF69BB0}"/>
              </a:ext>
            </a:extLst>
          </p:cNvPr>
          <p:cNvPicPr>
            <a:picLocks noChangeAspect="1"/>
          </p:cNvPicPr>
          <p:nvPr userDrawn="1"/>
        </p:nvPicPr>
        <p:blipFill>
          <a:blip r:embed="rId7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3"/>
              </a:ext>
            </a:extLst>
          </a:blip>
          <a:srcRect/>
          <a:stretch/>
        </p:blipFill>
        <p:spPr>
          <a:xfrm>
            <a:off x="494075" y="6453499"/>
            <a:ext cx="939600" cy="217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54654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4" r:id="rId1"/>
    <p:sldLayoutId id="2147483874" r:id="rId2"/>
    <p:sldLayoutId id="2147483864" r:id="rId3"/>
    <p:sldLayoutId id="2147483882" r:id="rId4"/>
    <p:sldLayoutId id="2147483887" r:id="rId5"/>
    <p:sldLayoutId id="2147483883" r:id="rId6"/>
    <p:sldLayoutId id="2147483863" r:id="rId7"/>
    <p:sldLayoutId id="2147483880" r:id="rId8"/>
    <p:sldLayoutId id="2147483811" r:id="rId9"/>
    <p:sldLayoutId id="2147483866" r:id="rId10"/>
    <p:sldLayoutId id="2147483884" r:id="rId11"/>
    <p:sldLayoutId id="2147483840" r:id="rId12"/>
    <p:sldLayoutId id="2147483841" r:id="rId13"/>
    <p:sldLayoutId id="2147483800" r:id="rId14"/>
    <p:sldLayoutId id="2147483870" r:id="rId15"/>
    <p:sldLayoutId id="2147483820" r:id="rId16"/>
    <p:sldLayoutId id="2147483649" r:id="rId17"/>
    <p:sldLayoutId id="2147483727" r:id="rId18"/>
    <p:sldLayoutId id="2147483845" r:id="rId19"/>
    <p:sldLayoutId id="2147483857" r:id="rId20"/>
    <p:sldLayoutId id="2147483826" r:id="rId21"/>
    <p:sldLayoutId id="2147483869" r:id="rId22"/>
    <p:sldLayoutId id="2147483858" r:id="rId23"/>
    <p:sldLayoutId id="2147483867" r:id="rId24"/>
    <p:sldLayoutId id="2147483878" r:id="rId25"/>
    <p:sldLayoutId id="2147483817" r:id="rId26"/>
    <p:sldLayoutId id="2147483879" r:id="rId27"/>
    <p:sldLayoutId id="2147483726" r:id="rId28"/>
    <p:sldLayoutId id="2147483821" r:id="rId29"/>
    <p:sldLayoutId id="2147483822" r:id="rId30"/>
    <p:sldLayoutId id="2147483824" r:id="rId31"/>
    <p:sldLayoutId id="2147483827" r:id="rId32"/>
    <p:sldLayoutId id="2147483851" r:id="rId33"/>
    <p:sldLayoutId id="2147483852" r:id="rId34"/>
    <p:sldLayoutId id="2147483732" r:id="rId35"/>
    <p:sldLayoutId id="2147483839" r:id="rId36"/>
    <p:sldLayoutId id="2147483877" r:id="rId37"/>
    <p:sldLayoutId id="2147483836" r:id="rId38"/>
    <p:sldLayoutId id="2147483799" r:id="rId39"/>
    <p:sldLayoutId id="2147483793" r:id="rId40"/>
    <p:sldLayoutId id="2147483798" r:id="rId41"/>
    <p:sldLayoutId id="2147483885" r:id="rId42"/>
    <p:sldLayoutId id="2147483886" r:id="rId43"/>
    <p:sldLayoutId id="2147483846" r:id="rId44"/>
    <p:sldLayoutId id="2147483902" r:id="rId45"/>
    <p:sldLayoutId id="2147483833" r:id="rId46"/>
    <p:sldLayoutId id="2147483794" r:id="rId47"/>
    <p:sldLayoutId id="2147483889" r:id="rId48"/>
    <p:sldLayoutId id="2147483890" r:id="rId49"/>
    <p:sldLayoutId id="2147483895" r:id="rId50"/>
    <p:sldLayoutId id="2147483897" r:id="rId51"/>
    <p:sldLayoutId id="2147483901" r:id="rId52"/>
    <p:sldLayoutId id="2147483893" r:id="rId53"/>
    <p:sldLayoutId id="2147483900" r:id="rId54"/>
    <p:sldLayoutId id="2147483899" r:id="rId55"/>
    <p:sldLayoutId id="2147483898" r:id="rId56"/>
    <p:sldLayoutId id="2147483892" r:id="rId57"/>
    <p:sldLayoutId id="2147483891" r:id="rId58"/>
    <p:sldLayoutId id="2147483896" r:id="rId59"/>
    <p:sldLayoutId id="2147483894" r:id="rId60"/>
    <p:sldLayoutId id="2147483764" r:id="rId61"/>
    <p:sldLayoutId id="2147483765" r:id="rId62"/>
    <p:sldLayoutId id="2147483766" r:id="rId63"/>
    <p:sldLayoutId id="2147483767" r:id="rId64"/>
    <p:sldLayoutId id="2147483855" r:id="rId65"/>
    <p:sldLayoutId id="2147483856" r:id="rId6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i="0" kern="1200" spc="-100" baseline="0">
          <a:solidFill>
            <a:schemeClr val="tx1">
              <a:lumMod val="85000"/>
              <a:lumOff val="15000"/>
            </a:schemeClr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5425" indent="-261425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4"/>
        </a:buClr>
        <a:buSzPct val="150000"/>
        <a:buFont typeface="Arial" panose="020B0604020202020204" pitchFamily="34" charset="0"/>
        <a:buChar char="•"/>
        <a:tabLst/>
        <a:defRPr sz="2400" b="0" i="0" kern="1200" spc="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447675" indent="-22225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4"/>
        </a:buClr>
        <a:buSzPct val="115000"/>
        <a:buFont typeface="Arial" panose="020B0604020202020204" pitchFamily="34" charset="0"/>
        <a:buChar char="•"/>
        <a:tabLst/>
        <a:defRPr sz="2400" b="0" i="0" kern="1200" spc="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77850" indent="-130175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4"/>
        </a:buClr>
        <a:buSzPct val="90000"/>
        <a:buFont typeface="Wingdings" pitchFamily="2" charset="2"/>
        <a:buChar char="§"/>
        <a:tabLst/>
        <a:defRPr sz="2000" b="0" i="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890588" indent="-176213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4"/>
        </a:buClr>
        <a:buSzPct val="70000"/>
        <a:buFont typeface="Wingdings" pitchFamily="2" charset="2"/>
        <a:buChar char="§"/>
        <a:tabLst/>
        <a:defRPr sz="2000" b="0" i="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11557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4"/>
        </a:buClr>
        <a:buSzPct val="90000"/>
        <a:buFont typeface="Arial" panose="020B0503030202060203" pitchFamily="34" charset="0"/>
        <a:buChar char="–"/>
        <a:tabLst/>
        <a:defRPr sz="1600" b="0" i="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335088" indent="-179388" algn="l" defTabSz="914400" rtl="0" eaLnBrk="1" latinLnBrk="0" hangingPunct="1">
        <a:lnSpc>
          <a:spcPct val="100000"/>
        </a:lnSpc>
        <a:spcBef>
          <a:spcPts val="500"/>
        </a:spcBef>
        <a:spcAft>
          <a:spcPts val="1200"/>
        </a:spcAft>
        <a:buClr>
          <a:schemeClr val="accent4"/>
        </a:buClr>
        <a:buSzPct val="80000"/>
        <a:buFont typeface="Wingdings" pitchFamily="2" charset="2"/>
        <a:buChar char="§"/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743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d-ID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81" userDrawn="1">
          <p15:clr>
            <a:srgbClr val="A4A3A4"/>
          </p15:clr>
        </p15:guide>
        <p15:guide id="2" pos="455" userDrawn="1">
          <p15:clr>
            <a:srgbClr val="9FCC3B"/>
          </p15:clr>
        </p15:guide>
        <p15:guide id="4" pos="7225" userDrawn="1">
          <p15:clr>
            <a:srgbClr val="F26B43"/>
          </p15:clr>
        </p15:guide>
        <p15:guide id="7" orient="horz" pos="3929" userDrawn="1">
          <p15:clr>
            <a:srgbClr val="F26B43"/>
          </p15:clr>
        </p15:guide>
        <p15:guide id="8" orient="horz" pos="339" userDrawn="1">
          <p15:clr>
            <a:srgbClr val="F26B43"/>
          </p15:clr>
        </p15:guide>
        <p15:guide id="9" orient="horz" pos="626" userDrawn="1">
          <p15:clr>
            <a:srgbClr val="A4A3A4"/>
          </p15:clr>
        </p15:guide>
        <p15:guide id="10" orient="horz" pos="766" userDrawn="1">
          <p15:clr>
            <a:srgbClr val="A4A3A4"/>
          </p15:clr>
        </p15:guide>
        <p15:guide id="11" orient="horz" pos="912" userDrawn="1">
          <p15:clr>
            <a:srgbClr val="A4A3A4"/>
          </p15:clr>
        </p15:guide>
        <p15:guide id="12" orient="horz" pos="1057" userDrawn="1">
          <p15:clr>
            <a:srgbClr val="A4A3A4"/>
          </p15:clr>
        </p15:guide>
        <p15:guide id="13" orient="horz" pos="1202" userDrawn="1">
          <p15:clr>
            <a:srgbClr val="A4A3A4"/>
          </p15:clr>
        </p15:guide>
        <p15:guide id="14" orient="horz" pos="1344" userDrawn="1">
          <p15:clr>
            <a:srgbClr val="A4A3A4"/>
          </p15:clr>
        </p15:guide>
        <p15:guide id="15" orient="horz" pos="1488" userDrawn="1">
          <p15:clr>
            <a:srgbClr val="A4A3A4"/>
          </p15:clr>
        </p15:guide>
        <p15:guide id="16" orient="horz" pos="1633" userDrawn="1">
          <p15:clr>
            <a:srgbClr val="A4A3A4"/>
          </p15:clr>
        </p15:guide>
        <p15:guide id="17" orient="horz" pos="1778" userDrawn="1">
          <p15:clr>
            <a:srgbClr val="A4A3A4"/>
          </p15:clr>
        </p15:guide>
        <p15:guide id="18" orient="horz" pos="1924" userDrawn="1">
          <p15:clr>
            <a:srgbClr val="A4A3A4"/>
          </p15:clr>
        </p15:guide>
        <p15:guide id="19" orient="horz" pos="2064" userDrawn="1">
          <p15:clr>
            <a:srgbClr val="A4A3A4"/>
          </p15:clr>
        </p15:guide>
        <p15:guide id="20" orient="horz" pos="2215" userDrawn="1">
          <p15:clr>
            <a:srgbClr val="A4A3A4"/>
          </p15:clr>
        </p15:guide>
        <p15:guide id="21" orient="horz" pos="2354" userDrawn="1">
          <p15:clr>
            <a:srgbClr val="A4A3A4"/>
          </p15:clr>
        </p15:guide>
        <p15:guide id="22" orient="horz" pos="2500" userDrawn="1">
          <p15:clr>
            <a:srgbClr val="A4A3A4"/>
          </p15:clr>
        </p15:guide>
        <p15:guide id="23" orient="horz" pos="2645" userDrawn="1">
          <p15:clr>
            <a:srgbClr val="A4A3A4"/>
          </p15:clr>
        </p15:guide>
        <p15:guide id="24" orient="horz" pos="2785" userDrawn="1">
          <p15:clr>
            <a:srgbClr val="A4A3A4"/>
          </p15:clr>
        </p15:guide>
        <p15:guide id="25" orient="horz" pos="2930" userDrawn="1">
          <p15:clr>
            <a:srgbClr val="A4A3A4"/>
          </p15:clr>
        </p15:guide>
        <p15:guide id="26" orient="horz" pos="3076" userDrawn="1">
          <p15:clr>
            <a:srgbClr val="A4A3A4"/>
          </p15:clr>
        </p15:guide>
        <p15:guide id="27" orient="horz" pos="3216" userDrawn="1">
          <p15:clr>
            <a:srgbClr val="A4A3A4"/>
          </p15:clr>
        </p15:guide>
        <p15:guide id="28" orient="horz" pos="3361" userDrawn="1">
          <p15:clr>
            <a:srgbClr val="A4A3A4"/>
          </p15:clr>
        </p15:guide>
        <p15:guide id="29" orient="horz" pos="3506" userDrawn="1">
          <p15:clr>
            <a:srgbClr val="A4A3A4"/>
          </p15:clr>
        </p15:guide>
        <p15:guide id="30" orient="horz" pos="3652" userDrawn="1">
          <p15:clr>
            <a:srgbClr val="A4A3A4"/>
          </p15:clr>
        </p15:guide>
        <p15:guide id="31" orient="horz" pos="3797" userDrawn="1">
          <p15:clr>
            <a:srgbClr val="A4A3A4"/>
          </p15:clr>
        </p15:guide>
        <p15:guide id="32" pos="2048" userDrawn="1">
          <p15:clr>
            <a:srgbClr val="9FCC3B"/>
          </p15:clr>
        </p15:guide>
        <p15:guide id="33" pos="2175" userDrawn="1">
          <p15:clr>
            <a:srgbClr val="9FCC3B"/>
          </p15:clr>
        </p15:guide>
        <p15:guide id="34" pos="3780" userDrawn="1">
          <p15:clr>
            <a:srgbClr val="9FCC3B"/>
          </p15:clr>
        </p15:guide>
        <p15:guide id="35" pos="3892" userDrawn="1">
          <p15:clr>
            <a:srgbClr val="9FCC3B"/>
          </p15:clr>
        </p15:guide>
        <p15:guide id="36" pos="5501" userDrawn="1">
          <p15:clr>
            <a:srgbClr val="9FCC3B"/>
          </p15:clr>
        </p15:guide>
        <p15:guide id="37" pos="5617" userDrawn="1">
          <p15:clr>
            <a:srgbClr val="9FCC3B"/>
          </p15:clr>
        </p15:guide>
        <p15:guide id="38" pos="2634" userDrawn="1">
          <p15:clr>
            <a:srgbClr val="C35EA4"/>
          </p15:clr>
        </p15:guide>
        <p15:guide id="39" pos="2746" userDrawn="1">
          <p15:clr>
            <a:srgbClr val="C35EA4"/>
          </p15:clr>
        </p15:guide>
        <p15:guide id="40" pos="4929" userDrawn="1">
          <p15:clr>
            <a:srgbClr val="C35EA4"/>
          </p15:clr>
        </p15:guide>
        <p15:guide id="41" pos="5041" userDrawn="1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6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7.jpeg"/><Relationship Id="rId2" Type="http://schemas.openxmlformats.org/officeDocument/2006/relationships/hyperlink" Target="https://codewhitesec.blogspot.com/2022/06/bypassing-dotnet-serialization-binders.html" TargetMode="External"/><Relationship Id="rId1" Type="http://schemas.openxmlformats.org/officeDocument/2006/relationships/slideLayout" Target="../slideLayouts/slideLayout2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8.png"/><Relationship Id="rId2" Type="http://schemas.openxmlformats.org/officeDocument/2006/relationships/hyperlink" Target="https://learn.microsoft.com/en-us/dotnet/csharp/language-reference/proposals/csharp-9.0/module-initializers" TargetMode="External"/><Relationship Id="rId1" Type="http://schemas.openxmlformats.org/officeDocument/2006/relationships/slideLayout" Target="../slideLayouts/slideLayout2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9.png"/><Relationship Id="rId1" Type="http://schemas.openxmlformats.org/officeDocument/2006/relationships/slideLayout" Target="../slideLayouts/slideLayout2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owasp.org/www-project-secure-coding-practices-quick-reference-guide/stable-en/02-checklist/05-checklist" TargetMode="External"/><Relationship Id="rId2" Type="http://schemas.openxmlformats.org/officeDocument/2006/relationships/hyperlink" Target="https://progresssoftware.atlassian.net/wiki/x/TgAjRw" TargetMode="External"/><Relationship Id="rId1" Type="http://schemas.openxmlformats.org/officeDocument/2006/relationships/slideLayout" Target="../slideLayouts/slideLayout22.xml"/><Relationship Id="rId5" Type="http://schemas.openxmlformats.org/officeDocument/2006/relationships/hyperlink" Target="https://code-white.com/blog" TargetMode="External"/><Relationship Id="rId4" Type="http://schemas.openxmlformats.org/officeDocument/2006/relationships/hyperlink" Target="https://github.com/pwntester/ysoserial.net?tab=readme-ov-file#additional-reading" TargetMode="Externa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0.png"/><Relationship Id="rId1" Type="http://schemas.openxmlformats.org/officeDocument/2006/relationships/slideLayout" Target="../slideLayouts/slideLayout2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1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ivan-h-ivanov/Deserialization-cases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learn.microsoft.com/en-us/dotnet/standard/serialization/binaryformatter-security-guide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2.xml"/><Relationship Id="rId5" Type="http://schemas.openxmlformats.org/officeDocument/2006/relationships/image" Target="../media/image123.png"/><Relationship Id="rId4" Type="http://schemas.openxmlformats.org/officeDocument/2006/relationships/hyperlink" Target="https://cheatsheetseries.owasp.org/cheatsheets/Deserialization_Cheat_Sheet.html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5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3045F59-8DC6-E09E-60AF-6B06A9644C8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38973" y="4846683"/>
            <a:ext cx="5782701" cy="388554"/>
          </a:xfrm>
        </p:spPr>
        <p:txBody>
          <a:bodyPr/>
          <a:lstStyle/>
          <a:p>
            <a:r>
              <a:rPr lang="en-US" sz="1800" b="0" i="1" dirty="0">
                <a:latin typeface="Arial"/>
                <a:cs typeface="Arial"/>
              </a:rPr>
              <a:t>Ivan Ivanov</a:t>
            </a:r>
          </a:p>
          <a:p>
            <a:r>
              <a:rPr lang="en-US" sz="1800" b="0" i="1" dirty="0">
                <a:latin typeface="Arial"/>
                <a:cs typeface="Arial"/>
              </a:rPr>
              <a:t>Software Engineer, Reporting team</a:t>
            </a:r>
            <a:endParaRPr lang="en-US" sz="1800" b="0" i="1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415FC7A-AB5B-B4F5-CB97-FA006D407D0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30</a:t>
            </a:r>
            <a:r>
              <a:rPr lang="en-BG">
                <a:latin typeface="Arial"/>
                <a:cs typeface="Arial"/>
              </a:rPr>
              <a:t>.</a:t>
            </a:r>
            <a:r>
              <a:rPr lang="en-US" dirty="0">
                <a:latin typeface="Arial"/>
                <a:cs typeface="Arial"/>
              </a:rPr>
              <a:t>10</a:t>
            </a:r>
            <a:r>
              <a:rPr lang="en-BG">
                <a:latin typeface="Arial"/>
                <a:cs typeface="Arial"/>
              </a:rPr>
              <a:t>.2024</a:t>
            </a:r>
            <a:endParaRPr lang="en-BG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FC414A4A-9B21-14FC-1119-A364580F7A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287" y="1486189"/>
            <a:ext cx="6584072" cy="1199693"/>
          </a:xfrm>
        </p:spPr>
        <p:txBody>
          <a:bodyPr/>
          <a:lstStyle/>
          <a:p>
            <a:r>
              <a:rPr lang="en-US" sz="3600" dirty="0">
                <a:latin typeface="Arial"/>
                <a:cs typeface="Arial"/>
              </a:rPr>
              <a:t>How to fail with .NET reflection</a:t>
            </a:r>
          </a:p>
        </p:txBody>
      </p:sp>
    </p:spTree>
    <p:extLst>
      <p:ext uri="{BB962C8B-B14F-4D97-AF65-F5344CB8AC3E}">
        <p14:creationId xmlns:p14="http://schemas.microsoft.com/office/powerpoint/2010/main" val="426965274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0CCB3D-4EA6-822E-0827-31EDBD0493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“My </a:t>
            </a:r>
            <a:r>
              <a:rPr lang="en-US" dirty="0" err="1"/>
              <a:t>AppDomain</a:t>
            </a:r>
            <a:r>
              <a:rPr lang="en-US" dirty="0"/>
              <a:t> is my castle”</a:t>
            </a:r>
            <a:br>
              <a:rPr lang="en-US" dirty="0"/>
            </a:br>
            <a:endParaRPr lang="en-BG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6E311BD-184B-32DA-B862-84F54652C0B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000" dirty="0"/>
              <a:t>(Shoutout to Bobi Ivanov)</a:t>
            </a:r>
            <a:br>
              <a:rPr lang="en-US" dirty="0"/>
            </a:br>
            <a:endParaRPr lang="en-US" dirty="0"/>
          </a:p>
          <a:p>
            <a:pPr marL="342900" indent="-342900"/>
            <a:r>
              <a:rPr lang="en-US" dirty="0"/>
              <a:t>(Code Demo)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4098" name="Picture 2">
            <a:extLst>
              <a:ext uri="{FF2B5EF4-FFF2-40B4-BE49-F238E27FC236}">
                <a16:creationId xmlns:a16="http://schemas.microsoft.com/office/drawing/2014/main" id="{FFC9F2B2-E612-D7E0-A9E1-48F5DBBC4D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07157" y="1466850"/>
            <a:ext cx="4819650" cy="4762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6522440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121A03-6879-DFA3-01A6-BD653BE5FE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“I will make my own type/assembly verification”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881A6B9-04AB-B21D-AF8A-4D9E4B69557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2314" y="1863725"/>
            <a:ext cx="3976436" cy="4365625"/>
          </a:xfrm>
        </p:spPr>
        <p:txBody>
          <a:bodyPr/>
          <a:lstStyle/>
          <a:p>
            <a:r>
              <a:rPr lang="en-US" dirty="0"/>
              <a:t>(Code Demo)</a:t>
            </a:r>
          </a:p>
          <a:p>
            <a:r>
              <a:rPr lang="en-US" dirty="0">
                <a:hlinkClick r:id="rId2"/>
              </a:rPr>
              <a:t>Bypassing .NET Serialization Binders</a:t>
            </a:r>
            <a:endParaRPr lang="en-US" dirty="0"/>
          </a:p>
        </p:txBody>
      </p:sp>
      <p:pic>
        <p:nvPicPr>
          <p:cNvPr id="6146" name="Picture 2">
            <a:extLst>
              <a:ext uri="{FF2B5EF4-FFF2-40B4-BE49-F238E27FC236}">
                <a16:creationId xmlns:a16="http://schemas.microsoft.com/office/drawing/2014/main" id="{59B493F9-2339-7283-717E-BFA49E19DD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3532" y="1831974"/>
            <a:ext cx="5905500" cy="4429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5346033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82A21E-922E-D7C1-0EF5-11330D3570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“I read the invoked code. Trust me, bro!”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3DCAEC0-491E-DC39-4747-0B16B971ECD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2313" y="1863725"/>
            <a:ext cx="4858355" cy="4365625"/>
          </a:xfrm>
        </p:spPr>
        <p:txBody>
          <a:bodyPr/>
          <a:lstStyle/>
          <a:p>
            <a:pPr marL="0" indent="0">
              <a:buNone/>
            </a:pPr>
            <a:r>
              <a:rPr lang="en-US" sz="2400" dirty="0"/>
              <a:t>(</a:t>
            </a:r>
            <a:r>
              <a:rPr lang="en-US" sz="2000" dirty="0"/>
              <a:t>Shoutout to </a:t>
            </a:r>
            <a:r>
              <a:rPr lang="en-US" sz="2000" dirty="0" err="1"/>
              <a:t>Panata</a:t>
            </a:r>
            <a:r>
              <a:rPr lang="en-US" sz="2400" dirty="0"/>
              <a:t>)</a:t>
            </a:r>
          </a:p>
          <a:p>
            <a:pPr marL="342900" indent="-342900"/>
            <a:endParaRPr lang="en-US" dirty="0">
              <a:hlinkClick r:id="rId2"/>
            </a:endParaRPr>
          </a:p>
          <a:p>
            <a:pPr marL="342900" indent="-342900"/>
            <a:r>
              <a:rPr lang="en-US" dirty="0">
                <a:hlinkClick r:id="rId2"/>
              </a:rPr>
              <a:t>Module Initializers</a:t>
            </a:r>
            <a:endParaRPr lang="en-US" dirty="0"/>
          </a:p>
          <a:p>
            <a:pPr marL="342900" indent="-342900"/>
            <a:r>
              <a:rPr lang="en-US" dirty="0"/>
              <a:t>(Code Demo)</a:t>
            </a: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8DA48C1-BE9A-562F-8D52-3F3E1FF50E3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64137" y="1677988"/>
            <a:ext cx="6305550" cy="41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894651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82A21E-922E-D7C1-0EF5-11330D3570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3" y="538163"/>
            <a:ext cx="5744475" cy="1139825"/>
          </a:xfrm>
        </p:spPr>
        <p:txBody>
          <a:bodyPr/>
          <a:lstStyle/>
          <a:p>
            <a:r>
              <a:rPr lang="en-US" dirty="0"/>
              <a:t>“I have restricted reflection calls? I am safe, right?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3DCAEC0-491E-DC39-4747-0B16B971ECD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2313" y="2526384"/>
            <a:ext cx="4858355" cy="3702966"/>
          </a:xfrm>
        </p:spPr>
        <p:txBody>
          <a:bodyPr/>
          <a:lstStyle/>
          <a:p>
            <a:pPr marL="342900" indent="-342900"/>
            <a:r>
              <a:rPr lang="en-US" dirty="0"/>
              <a:t>(Code Demo)</a:t>
            </a: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8194" name="Picture 2">
            <a:extLst>
              <a:ext uri="{FF2B5EF4-FFF2-40B4-BE49-F238E27FC236}">
                <a16:creationId xmlns:a16="http://schemas.microsoft.com/office/drawing/2014/main" id="{32AC141F-3147-A24A-9B03-71DA19AB38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6103" y="466725"/>
            <a:ext cx="4762500" cy="5924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1483462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D03C32-DFF5-D4AB-A1F0-36335D23843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Demos</a:t>
            </a:r>
            <a:endParaRPr lang="en-BG" dirty="0"/>
          </a:p>
        </p:txBody>
      </p:sp>
    </p:spTree>
    <p:extLst>
      <p:ext uri="{BB962C8B-B14F-4D97-AF65-F5344CB8AC3E}">
        <p14:creationId xmlns:p14="http://schemas.microsoft.com/office/powerpoint/2010/main" val="133271183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5473BF7-33BA-A642-963E-51AF61D6DD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0577" y="2409825"/>
            <a:ext cx="7102475" cy="2038350"/>
          </a:xfrm>
        </p:spPr>
        <p:txBody>
          <a:bodyPr/>
          <a:lstStyle/>
          <a:p>
            <a:pPr algn="ctr"/>
            <a:r>
              <a:rPr lang="en-US" dirty="0"/>
              <a:t>Ok, now what?</a:t>
            </a:r>
            <a:endParaRPr lang="en-BG" dirty="0"/>
          </a:p>
        </p:txBody>
      </p:sp>
    </p:spTree>
    <p:extLst>
      <p:ext uri="{BB962C8B-B14F-4D97-AF65-F5344CB8AC3E}">
        <p14:creationId xmlns:p14="http://schemas.microsoft.com/office/powerpoint/2010/main" val="243107276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82A21E-922E-D7C1-0EF5-11330D3570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3" y="538163"/>
            <a:ext cx="5744475" cy="1139825"/>
          </a:xfrm>
        </p:spPr>
        <p:txBody>
          <a:bodyPr/>
          <a:lstStyle/>
          <a:p>
            <a:r>
              <a:rPr lang="en-US" dirty="0"/>
              <a:t>Allowlist vs Denylis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3DCAEC0-491E-DC39-4747-0B16B971ECD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2313" y="1677988"/>
            <a:ext cx="9911122" cy="3702966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Allowlists:</a:t>
            </a:r>
          </a:p>
          <a:p>
            <a:pPr marL="342900" indent="-342900"/>
            <a:r>
              <a:rPr lang="en-US" dirty="0"/>
              <a:t>Align with “Secure by default” principle</a:t>
            </a:r>
          </a:p>
          <a:p>
            <a:pPr marL="342900" indent="-342900"/>
            <a:r>
              <a:rPr lang="en-US" dirty="0"/>
              <a:t>Require less maintenance</a:t>
            </a:r>
          </a:p>
          <a:p>
            <a:pPr marL="342900" indent="-342900"/>
            <a:r>
              <a:rPr lang="en-US" dirty="0"/>
              <a:t>Are more beginner friendly to new developers on the team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606992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3010A9-1C54-AC92-6814-DD710573B8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d lis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F683525-DF0B-5609-9FFA-BA78552B0D1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2313" y="1882578"/>
            <a:ext cx="10747375" cy="4365625"/>
          </a:xfrm>
        </p:spPr>
        <p:txBody>
          <a:bodyPr/>
          <a:lstStyle/>
          <a:p>
            <a:r>
              <a:rPr lang="en-US" dirty="0">
                <a:hlinkClick r:id="rId2"/>
              </a:rPr>
              <a:t>Checklist for Dangerous APIs </a:t>
            </a:r>
            <a:r>
              <a:rPr lang="en-US" sz="2000" dirty="0"/>
              <a:t>(kudos to Todor </a:t>
            </a:r>
            <a:r>
              <a:rPr lang="en-US" sz="2000" dirty="0" err="1"/>
              <a:t>Mitskovski</a:t>
            </a:r>
            <a:r>
              <a:rPr lang="en-US" sz="2000" dirty="0"/>
              <a:t>)</a:t>
            </a:r>
            <a:endParaRPr lang="en-US" sz="2000" dirty="0">
              <a:hlinkClick r:id="rId2"/>
            </a:endParaRPr>
          </a:p>
          <a:p>
            <a:r>
              <a:rPr lang="en-US" dirty="0">
                <a:hlinkClick r:id="rId2"/>
              </a:rPr>
              <a:t>OWASP principles of security</a:t>
            </a:r>
            <a:endParaRPr lang="en-US" dirty="0"/>
          </a:p>
          <a:p>
            <a:r>
              <a:rPr lang="en-US" dirty="0">
                <a:hlinkClick r:id="rId3"/>
              </a:rPr>
              <a:t>OWASP input validation checklist</a:t>
            </a:r>
            <a:endParaRPr lang="en-US" dirty="0"/>
          </a:p>
          <a:p>
            <a:r>
              <a:rPr lang="en-US" dirty="0">
                <a:hlinkClick r:id="rId4"/>
              </a:rPr>
              <a:t>YSOSERIAL.NET</a:t>
            </a:r>
            <a:endParaRPr lang="en-US" dirty="0"/>
          </a:p>
          <a:p>
            <a:r>
              <a:rPr lang="en-US" dirty="0">
                <a:hlinkClick r:id="rId5"/>
              </a:rPr>
              <a:t>Code-whi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511819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C01734-3ED9-D695-7F82-E45BDB4736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qr code on a blue background&#10;&#10;Description automatically generated">
            <a:extLst>
              <a:ext uri="{FF2B5EF4-FFF2-40B4-BE49-F238E27FC236}">
                <a16:creationId xmlns:a16="http://schemas.microsoft.com/office/drawing/2014/main" id="{A4076558-FD7D-5DFE-9A35-7A6B11B29EE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2234" y="365234"/>
            <a:ext cx="6127531" cy="6127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37653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0CCB3D-4EA6-822E-0827-31EDBD049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2" y="544469"/>
            <a:ext cx="10747374" cy="1555498"/>
          </a:xfrm>
        </p:spPr>
        <p:txBody>
          <a:bodyPr/>
          <a:lstStyle/>
          <a:p>
            <a:r>
              <a:rPr lang="en-US" dirty="0"/>
              <a:t>- </a:t>
            </a:r>
            <a:r>
              <a:rPr lang="en-US" sz="4000" dirty="0">
                <a:latin typeface="Arial"/>
                <a:cs typeface="Arial"/>
              </a:rPr>
              <a:t>How to fail with .NET reflection</a:t>
            </a:r>
            <a:r>
              <a:rPr lang="en-US" dirty="0"/>
              <a:t>?</a:t>
            </a:r>
            <a:br>
              <a:rPr lang="en-US" dirty="0"/>
            </a:br>
            <a:r>
              <a:rPr lang="en-US" dirty="0"/>
              <a:t>- By having unsafe deserialization!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. . .</a:t>
            </a:r>
            <a:br>
              <a:rPr lang="en-US" dirty="0"/>
            </a:br>
            <a:br>
              <a:rPr lang="en-US" dirty="0"/>
            </a:br>
            <a:endParaRPr lang="en-BG" dirty="0"/>
          </a:p>
        </p:txBody>
      </p:sp>
    </p:spTree>
    <p:extLst>
      <p:ext uri="{BB962C8B-B14F-4D97-AF65-F5344CB8AC3E}">
        <p14:creationId xmlns:p14="http://schemas.microsoft.com/office/powerpoint/2010/main" val="276446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>
            <a:extLst>
              <a:ext uri="{FF2B5EF4-FFF2-40B4-BE49-F238E27FC236}">
                <a16:creationId xmlns:a16="http://schemas.microsoft.com/office/drawing/2014/main" id="{78033EFE-DECB-0340-BB51-0C3012B5EE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4288"/>
            <a:ext cx="12192000" cy="6829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0225013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0FB8BF0-C7BD-C477-B493-AD1FD4AA1A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072" y="2449431"/>
            <a:ext cx="11133056" cy="1139825"/>
          </a:xfrm>
        </p:spPr>
        <p:txBody>
          <a:bodyPr/>
          <a:lstStyle/>
          <a:p>
            <a:r>
              <a:rPr lang="en-US" dirty="0">
                <a:hlinkClick r:id="rId3"/>
              </a:rPr>
              <a:t>https://github.com/ivan-h-ivanov/Deserialization-cas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5202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5473BF7-33BA-A642-963E-51AF61D6DD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0577" y="2409825"/>
            <a:ext cx="7102475" cy="2038350"/>
          </a:xfrm>
        </p:spPr>
        <p:txBody>
          <a:bodyPr/>
          <a:lstStyle/>
          <a:p>
            <a:pPr algn="ctr"/>
            <a:r>
              <a:rPr lang="en-GB" b="1" dirty="0"/>
              <a:t>Common fallacies about</a:t>
            </a:r>
            <a:br>
              <a:rPr lang="en-GB" b="1" dirty="0"/>
            </a:br>
            <a:r>
              <a:rPr lang="en-GB" b="1" dirty="0"/>
              <a:t>(custom) deserialization</a:t>
            </a:r>
            <a:endParaRPr lang="en-BG" dirty="0"/>
          </a:p>
        </p:txBody>
      </p:sp>
    </p:spTree>
    <p:extLst>
      <p:ext uri="{BB962C8B-B14F-4D97-AF65-F5344CB8AC3E}">
        <p14:creationId xmlns:p14="http://schemas.microsoft.com/office/powerpoint/2010/main" val="59857634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0CCB3D-4EA6-822E-0827-31EDBD049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3" y="264444"/>
            <a:ext cx="10747374" cy="956408"/>
          </a:xfrm>
        </p:spPr>
        <p:txBody>
          <a:bodyPr/>
          <a:lstStyle/>
          <a:p>
            <a:r>
              <a:rPr lang="en-US" dirty="0"/>
              <a:t>“Is it that bad? It is a single attack type?”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BG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EDE8E51-047C-7746-3712-C190B995481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2313" y="1220852"/>
            <a:ext cx="10420350" cy="5067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8080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29F516-EA90-86EF-75AF-C3D5B11A408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2313" y="1428597"/>
            <a:ext cx="4524451" cy="4365625"/>
          </a:xfrm>
        </p:spPr>
        <p:txBody>
          <a:bodyPr vert="horz" lIns="0" tIns="0" rIns="0" bIns="0" rtlCol="0" anchor="t">
            <a:noAutofit/>
          </a:bodyPr>
          <a:lstStyle/>
          <a:p>
            <a:pPr marL="342900" indent="-342900"/>
            <a:r>
              <a:rPr lang="en-US" b="1" dirty="0">
                <a:cs typeface="Arial"/>
              </a:rPr>
              <a:t>“I read that MSDN article: </a:t>
            </a:r>
            <a:r>
              <a:rPr lang="en-US" b="1" dirty="0">
                <a:cs typeface="Arial"/>
                <a:hlinkClick r:id="rId3"/>
              </a:rPr>
              <a:t>Deserialization Risks…</a:t>
            </a:r>
            <a:r>
              <a:rPr lang="en-US" b="1" dirty="0">
                <a:cs typeface="Arial"/>
              </a:rPr>
              <a:t>”</a:t>
            </a:r>
          </a:p>
          <a:p>
            <a:pPr marL="565150" lvl="1" indent="-342900"/>
            <a:r>
              <a:rPr lang="en-US" b="1" dirty="0">
                <a:cs typeface="Arial"/>
              </a:rPr>
              <a:t>Better check this one: </a:t>
            </a:r>
            <a:r>
              <a:rPr lang="en-US" b="1" dirty="0">
                <a:cs typeface="Arial"/>
                <a:hlinkClick r:id="rId4"/>
              </a:rPr>
              <a:t>OWASP Deserialization Cheat Sheet</a:t>
            </a:r>
            <a:endParaRPr lang="en-US" b="1" dirty="0">
              <a:cs typeface="Arial"/>
            </a:endParaRPr>
          </a:p>
          <a:p>
            <a:pPr marL="342900" indent="-342900"/>
            <a:r>
              <a:rPr lang="en-US" b="1" dirty="0">
                <a:cs typeface="Arial"/>
              </a:rPr>
              <a:t>“SAST tool is green”</a:t>
            </a:r>
          </a:p>
          <a:p>
            <a:pPr marL="342900" indent="-342900"/>
            <a:endParaRPr lang="en-BG" b="1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B794FF0-3103-0A78-960A-99E55F3609F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47335" y="1518318"/>
            <a:ext cx="5886450" cy="4086225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C386C25A-2BC1-B2A8-2EE3-964F352BD2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3" y="297049"/>
            <a:ext cx="10747374" cy="956408"/>
          </a:xfrm>
        </p:spPr>
        <p:txBody>
          <a:bodyPr/>
          <a:lstStyle/>
          <a:p>
            <a:r>
              <a:rPr lang="en-US" dirty="0"/>
              <a:t>“But I should be fine, I guess…”</a:t>
            </a:r>
            <a:endParaRPr lang="en-BG" dirty="0"/>
          </a:p>
        </p:txBody>
      </p:sp>
    </p:spTree>
    <p:extLst>
      <p:ext uri="{BB962C8B-B14F-4D97-AF65-F5344CB8AC3E}">
        <p14:creationId xmlns:p14="http://schemas.microsoft.com/office/powerpoint/2010/main" val="18330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0CCB3D-4EA6-822E-0827-31EDBD0493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“I can cast it and be safe”</a:t>
            </a:r>
            <a:endParaRPr lang="en-BG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7420A92-3D0E-4AAD-40AB-030D077D49F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39614" y="2255899"/>
            <a:ext cx="9512772" cy="2346199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0AB17008-9759-DD08-5C46-E763A1BE15A2}"/>
              </a:ext>
            </a:extLst>
          </p:cNvPr>
          <p:cNvSpPr txBox="1"/>
          <p:nvPr/>
        </p:nvSpPr>
        <p:spPr>
          <a:xfrm>
            <a:off x="265113" y="5033727"/>
            <a:ext cx="7783418" cy="9144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en-US" sz="24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88F5A5B-B8CC-AE0D-884D-86732D959F3B}"/>
              </a:ext>
            </a:extLst>
          </p:cNvPr>
          <p:cNvSpPr txBox="1"/>
          <p:nvPr/>
        </p:nvSpPr>
        <p:spPr>
          <a:xfrm>
            <a:off x="265113" y="5160475"/>
            <a:ext cx="7330744" cy="78765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r>
              <a:rPr lang="en-US" sz="2400" dirty="0"/>
              <a:t>*Unsafe deserialization is the second most evil thing after screenshots of code</a:t>
            </a:r>
          </a:p>
        </p:txBody>
      </p:sp>
    </p:spTree>
    <p:extLst>
      <p:ext uri="{BB962C8B-B14F-4D97-AF65-F5344CB8AC3E}">
        <p14:creationId xmlns:p14="http://schemas.microsoft.com/office/powerpoint/2010/main" val="1702632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0CCB3D-4EA6-822E-0827-31EDBD0493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“…I can cast it and be safe”</a:t>
            </a:r>
            <a:endParaRPr lang="en-BG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6E311BD-184B-32DA-B862-84F54652C0B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2313" y="1863725"/>
            <a:ext cx="4830075" cy="4365625"/>
          </a:xfrm>
        </p:spPr>
        <p:txBody>
          <a:bodyPr/>
          <a:lstStyle/>
          <a:p>
            <a:r>
              <a:rPr lang="en-US" dirty="0"/>
              <a:t>(Code Demo)</a:t>
            </a:r>
          </a:p>
          <a:p>
            <a:endParaRPr lang="en-US" dirty="0"/>
          </a:p>
        </p:txBody>
      </p:sp>
      <p:pic>
        <p:nvPicPr>
          <p:cNvPr id="9220" name="Picture 4">
            <a:extLst>
              <a:ext uri="{FF2B5EF4-FFF2-40B4-BE49-F238E27FC236}">
                <a16:creationId xmlns:a16="http://schemas.microsoft.com/office/drawing/2014/main" id="{4DBFB51E-3BA1-9DC7-3A50-E8D60EDF93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0" y="1396541"/>
            <a:ext cx="4762500" cy="4762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12234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Progress Palette">
      <a:dk1>
        <a:srgbClr val="000000"/>
      </a:dk1>
      <a:lt1>
        <a:srgbClr val="FFFFFF"/>
      </a:lt1>
      <a:dk2>
        <a:srgbClr val="00206B"/>
      </a:dk2>
      <a:lt2>
        <a:srgbClr val="EEF5FF"/>
      </a:lt2>
      <a:accent1>
        <a:srgbClr val="008963"/>
      </a:accent1>
      <a:accent2>
        <a:srgbClr val="00B563"/>
      </a:accent2>
      <a:accent3>
        <a:srgbClr val="2B2BB2"/>
      </a:accent3>
      <a:accent4>
        <a:srgbClr val="4B4BF7"/>
      </a:accent4>
      <a:accent5>
        <a:srgbClr val="DCECFF"/>
      </a:accent5>
      <a:accent6>
        <a:srgbClr val="FFD000"/>
      </a:accent6>
      <a:hlink>
        <a:srgbClr val="0069E8"/>
      </a:hlink>
      <a:folHlink>
        <a:srgbClr val="76C1FF"/>
      </a:folHlink>
    </a:clrScheme>
    <a:fontScheme name="Custom 6">
      <a:majorFont>
        <a:latin typeface="Arial Bold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0"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wrap="square" lIns="0" tIns="0" rIns="0" bIns="0" rtlCol="0">
        <a:noAutofit/>
      </a:bodyPr>
      <a:lstStyle>
        <a:defPPr algn="l">
          <a:lnSpc>
            <a:spcPts val="2700"/>
          </a:lnSpc>
          <a:defRPr sz="2400" dirty="0" smtClean="0"/>
        </a:defPPr>
      </a:lstStyle>
    </a:txDef>
  </a:objectDefaults>
  <a:extraClrSchemeLst/>
  <a:custClrLst>
    <a:custClr name="Light Green S1">
      <a:srgbClr val="4FB850"/>
    </a:custClr>
    <a:custClr name="Yellow S1">
      <a:srgbClr val="FBCE0A"/>
    </a:custClr>
    <a:custClr name="Yellow S2">
      <a:srgbClr val="FAE400"/>
    </a:custClr>
    <a:custClr name="Red S2">
      <a:srgbClr val="F1627A"/>
    </a:custClr>
    <a:custClr name="Light Blue S1">
      <a:srgbClr val="00BCED"/>
    </a:custClr>
    <a:custClr name="Blue Line">
      <a:srgbClr val="0053A5"/>
    </a:custClr>
    <a:custClr name="TEAL S3">
      <a:srgbClr val="0AA39F"/>
    </a:custClr>
    <a:custClr name="Purple S1">
      <a:srgbClr val="311B97"/>
    </a:custClr>
    <a:custClr name="Purple S2">
      <a:srgbClr val="5122B9"/>
    </a:custClr>
    <a:custClr name="Light Gray S2">
      <a:srgbClr val="DDE9F7"/>
    </a:custClr>
  </a:custClrLst>
  <a:extLst>
    <a:ext uri="{05A4C25C-085E-4340-85A3-A5531E510DB2}">
      <thm15:themeFamily xmlns:thm15="http://schemas.microsoft.com/office/thememl/2012/main" name="Presentation1" id="{29DB4C80-FAB0-434B-8B56-45B438BCE104}" vid="{7DADA20D-AE5C-8A49-9A6A-EE09DD3097C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1F6CB407D8894A8143197E9F4BC134" ma:contentTypeVersion="20" ma:contentTypeDescription="Create a new document." ma:contentTypeScope="" ma:versionID="461c9aef81accd255de9280622298824">
  <xsd:schema xmlns:xsd="http://www.w3.org/2001/XMLSchema" xmlns:xs="http://www.w3.org/2001/XMLSchema" xmlns:p="http://schemas.microsoft.com/office/2006/metadata/properties" xmlns:ns2="62fd6ef9-09fe-4ef1-ad9c-4e6c7b7c6c47" xmlns:ns3="079bfb87-7c49-43a8-ae41-927232cf92a0" xmlns:ns4="0dfb052e-cb13-4d19-82cf-940ca1bb85b7" targetNamespace="http://schemas.microsoft.com/office/2006/metadata/properties" ma:root="true" ma:fieldsID="823a320a0e7224597946dee104d3ae4a" ns2:_="" ns3:_="" ns4:_="">
    <xsd:import namespace="62fd6ef9-09fe-4ef1-ad9c-4e6c7b7c6c47"/>
    <xsd:import namespace="079bfb87-7c49-43a8-ae41-927232cf92a0"/>
    <xsd:import namespace="0dfb052e-cb13-4d19-82cf-940ca1bb85b7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3:LastName" minOccurs="0"/>
                <xsd:element ref="ns3:FirstName" minOccurs="0"/>
                <xsd:element ref="ns3:Email" minOccurs="0"/>
                <xsd:element ref="ns3:MediaServiceGenerationTime" minOccurs="0"/>
                <xsd:element ref="ns3:MediaServiceEventHashCode" minOccurs="0"/>
                <xsd:element ref="ns3:MediaLengthInSeconds" minOccurs="0"/>
                <xsd:element ref="ns3:lcf76f155ced4ddcb4097134ff3c332f" minOccurs="0"/>
                <xsd:element ref="ns4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2fd6ef9-09fe-4ef1-ad9c-4e6c7b7c6c47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79bfb87-7c49-43a8-ae41-927232cf92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MediaServiceAutoTags" ma:internalName="MediaServiceAutoTags" ma:readOnly="true">
      <xsd:simpleType>
        <xsd:restriction base="dms:Text"/>
      </xsd:simpleType>
    </xsd:element>
    <xsd:element name="MediaServiceOCR" ma:index="14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astName" ma:index="17" nillable="true" ma:displayName="Last Name" ma:format="Dropdown" ma:internalName="LastName">
      <xsd:simpleType>
        <xsd:restriction base="dms:Text">
          <xsd:maxLength value="255"/>
        </xsd:restriction>
      </xsd:simpleType>
    </xsd:element>
    <xsd:element name="FirstName" ma:index="18" nillable="true" ma:displayName="First Name" ma:format="Dropdown" ma:internalName="FirstName">
      <xsd:simpleType>
        <xsd:restriction base="dms:Text">
          <xsd:maxLength value="255"/>
        </xsd:restriction>
      </xsd:simpleType>
    </xsd:element>
    <xsd:element name="Email" ma:index="19" nillable="true" ma:displayName="Email" ma:format="Dropdown" ma:internalName="Email">
      <xsd:simpleType>
        <xsd:restriction base="dms:Text">
          <xsd:maxLength value="255"/>
        </xsd:restriction>
      </xsd:simpleType>
    </xsd:element>
    <xsd:element name="MediaServiceGenerationTime" ma:index="20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1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22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4" nillable="true" ma:taxonomy="true" ma:internalName="lcf76f155ced4ddcb4097134ff3c332f" ma:taxonomyFieldName="MediaServiceImageTags" ma:displayName="Image Tags" ma:readOnly="false" ma:fieldId="{5cf76f15-5ced-4ddc-b409-7134ff3c332f}" ma:taxonomyMulti="true" ma:sspId="c28caf4e-97a5-482b-b76c-1611355cdda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6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7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dfb052e-cb13-4d19-82cf-940ca1bb85b7" elementFormDefault="qualified">
    <xsd:import namespace="http://schemas.microsoft.com/office/2006/documentManagement/types"/>
    <xsd:import namespace="http://schemas.microsoft.com/office/infopath/2007/PartnerControls"/>
    <xsd:element name="TaxCatchAll" ma:index="25" nillable="true" ma:displayName="Taxonomy Catch All Column" ma:hidden="true" ma:list="{64bf72c8-39e6-42f5-bb0c-5f15fa6363d3}" ma:internalName="TaxCatchAll" ma:showField="CatchAllData" ma:web="62fd6ef9-09fe-4ef1-ad9c-4e6c7b7c6c4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0dfb052e-cb13-4d19-82cf-940ca1bb85b7" xsi:nil="true"/>
    <lcf76f155ced4ddcb4097134ff3c332f xmlns="079bfb87-7c49-43a8-ae41-927232cf92a0">
      <Terms xmlns="http://schemas.microsoft.com/office/infopath/2007/PartnerControls"/>
    </lcf76f155ced4ddcb4097134ff3c332f>
    <FirstName xmlns="079bfb87-7c49-43a8-ae41-927232cf92a0" xsi:nil="true"/>
    <LastName xmlns="079bfb87-7c49-43a8-ae41-927232cf92a0" xsi:nil="true"/>
    <Email xmlns="079bfb87-7c49-43a8-ae41-927232cf92a0" xsi:nil="true"/>
  </documentManagement>
</p:properties>
</file>

<file path=customXml/itemProps1.xml><?xml version="1.0" encoding="utf-8"?>
<ds:datastoreItem xmlns:ds="http://schemas.openxmlformats.org/officeDocument/2006/customXml" ds:itemID="{9833226D-B276-4E36-881A-84FC5B0B1FB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30F4555-CA92-4F5D-B688-D85DF0BB3C1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2fd6ef9-09fe-4ef1-ad9c-4e6c7b7c6c47"/>
    <ds:schemaRef ds:uri="079bfb87-7c49-43a8-ae41-927232cf92a0"/>
    <ds:schemaRef ds:uri="0dfb052e-cb13-4d19-82cf-940ca1bb85b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5C594B84-59CF-48E1-B5CE-65905B01D76A}">
  <ds:schemaRefs>
    <ds:schemaRef ds:uri="0dfb052e-cb13-4d19-82cf-940ca1bb85b7"/>
    <ds:schemaRef ds:uri="http://schemas.openxmlformats.org/package/2006/metadata/core-properties"/>
    <ds:schemaRef ds:uri="http://purl.org/dc/dcmitype/"/>
    <ds:schemaRef ds:uri="079bfb87-7c49-43a8-ae41-927232cf92a0"/>
    <ds:schemaRef ds:uri="http://schemas.microsoft.com/office/2006/documentManagement/types"/>
    <ds:schemaRef ds:uri="http://schemas.microsoft.com/office/2006/metadata/properties"/>
    <ds:schemaRef ds:uri="http://www.w3.org/XML/1998/namespace"/>
    <ds:schemaRef ds:uri="62fd6ef9-09fe-4ef1-ad9c-4e6c7b7c6c47"/>
    <ds:schemaRef ds:uri="http://purl.org/dc/terms/"/>
    <ds:schemaRef ds:uri="http://schemas.microsoft.com/office/infopath/2007/PartnerControls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257</TotalTime>
  <Words>298</Words>
  <Application>Microsoft Office PowerPoint</Application>
  <PresentationFormat>Widescreen</PresentationFormat>
  <Paragraphs>58</Paragraphs>
  <Slides>18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2" baseType="lpstr">
      <vt:lpstr>Arial</vt:lpstr>
      <vt:lpstr>Wingdings</vt:lpstr>
      <vt:lpstr>Office Theme</vt:lpstr>
      <vt:lpstr>think-cell Slide</vt:lpstr>
      <vt:lpstr>How to fail with .NET reflection</vt:lpstr>
      <vt:lpstr>- How to fail with .NET reflection? - By having unsafe deserialization!    . . .  </vt:lpstr>
      <vt:lpstr>PowerPoint Presentation</vt:lpstr>
      <vt:lpstr>https://github.com/ivan-h-ivanov/Deserialization-cases</vt:lpstr>
      <vt:lpstr>Common fallacies about (custom) deserialization</vt:lpstr>
      <vt:lpstr>“Is it that bad? It is a single attack type?”    </vt:lpstr>
      <vt:lpstr>“But I should be fine, I guess…”</vt:lpstr>
      <vt:lpstr>“I can cast it and be safe”</vt:lpstr>
      <vt:lpstr>“…I can cast it and be safe”</vt:lpstr>
      <vt:lpstr>“My AppDomain is my castle” </vt:lpstr>
      <vt:lpstr>“I will make my own type/assembly verification”</vt:lpstr>
      <vt:lpstr>“I read the invoked code. Trust me, bro!”</vt:lpstr>
      <vt:lpstr>“I have restricted reflection calls? I am safe, right?</vt:lpstr>
      <vt:lpstr>Demos</vt:lpstr>
      <vt:lpstr>Ok, now what?</vt:lpstr>
      <vt:lpstr>Allowlist vs Denylist</vt:lpstr>
      <vt:lpstr>Read list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vSecOps</dc:title>
  <dc:creator>Dimo Mitev</dc:creator>
  <cp:lastModifiedBy>Ivan Ivanov</cp:lastModifiedBy>
  <cp:revision>9</cp:revision>
  <dcterms:created xsi:type="dcterms:W3CDTF">2024-03-12T08:16:03Z</dcterms:created>
  <dcterms:modified xsi:type="dcterms:W3CDTF">2024-10-30T12:56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51F6CB407D8894A8143197E9F4BC134</vt:lpwstr>
  </property>
  <property fmtid="{D5CDD505-2E9C-101B-9397-08002B2CF9AE}" pid="3" name="MediaServiceImageTags">
    <vt:lpwstr/>
  </property>
</Properties>
</file>